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1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 autoCompressPictures="0">
  <p:sldMasterIdLst>
    <p:sldMasterId id="2147484244" r:id="rId1"/>
  </p:sldMasterIdLst>
  <p:notesMasterIdLst>
    <p:notesMasterId r:id="rId18"/>
  </p:notesMasterIdLst>
  <p:handoutMasterIdLst>
    <p:handoutMasterId r:id="rId19"/>
  </p:handoutMasterIdLst>
  <p:sldIdLst>
    <p:sldId id="262" r:id="rId2"/>
    <p:sldId id="257" r:id="rId3"/>
    <p:sldId id="264" r:id="rId4"/>
    <p:sldId id="266" r:id="rId5"/>
    <p:sldId id="267" r:id="rId6"/>
    <p:sldId id="263" r:id="rId7"/>
    <p:sldId id="268" r:id="rId8"/>
    <p:sldId id="269" r:id="rId9"/>
    <p:sldId id="270" r:id="rId10"/>
    <p:sldId id="271" r:id="rId11"/>
    <p:sldId id="272" r:id="rId12"/>
    <p:sldId id="273" r:id="rId13"/>
    <p:sldId id="274" r:id="rId14"/>
    <p:sldId id="275" r:id="rId15"/>
    <p:sldId id="261" r:id="rId16"/>
    <p:sldId id="276" r:id="rId17"/>
  </p:sldIdLst>
  <p:sldSz cx="12192000" cy="6858000"/>
  <p:notesSz cx="7315200" cy="9601200"/>
  <p:custDataLst>
    <p:tags r:id="rId20"/>
  </p:custDataLst>
  <p:defaultTextStyle>
    <a:defPPr>
      <a:defRPr lang="en-US"/>
    </a:defPPr>
    <a:lvl1pPr marL="0" indent="0" algn="l" defTabSz="365756" rtl="0" eaLnBrk="1" fontAlgn="base" hangingPunct="1">
      <a:lnSpc>
        <a:spcPct val="110000"/>
      </a:lnSpc>
      <a:spcBef>
        <a:spcPts val="0"/>
      </a:spcBef>
      <a:spcAft>
        <a:spcPts val="1200"/>
      </a:spcAft>
      <a:buClrTx/>
      <a:buFontTx/>
      <a:buNone/>
      <a:defRPr sz="1000" b="0" u="none" baseline="0">
        <a:solidFill>
          <a:schemeClr val="tx1"/>
        </a:solidFill>
        <a:uFill>
          <a:solidFill>
            <a:schemeClr val="accent5"/>
          </a:solidFill>
        </a:uFill>
        <a:latin typeface="+mn-lt"/>
        <a:ea typeface="+mn-ea"/>
        <a:cs typeface="+mn-cs"/>
      </a:defRPr>
    </a:lvl1pPr>
    <a:lvl2pPr marL="18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B0604020202020204" pitchFamily="34" charset="0"/>
      <a:buChar char="•"/>
      <a:defRPr sz="1000" b="0" baseline="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F0502020204030204" pitchFamily="34" charset="0"/>
      <a:buChar char="−"/>
      <a:defRPr sz="1000" b="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B0604020202020204" pitchFamily="34" charset="0"/>
      <a:buChar char="•"/>
      <a:defRPr sz="1000" b="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 typeface="Arial" panose="020F0502020204030204" pitchFamily="34" charset="0"/>
      <a:buChar char="−"/>
      <a:defRPr sz="1000" b="0" baseline="0">
        <a:solidFill>
          <a:schemeClr val="tx1"/>
        </a:solidFill>
        <a:latin typeface="+mn-lt"/>
        <a:ea typeface="+mn-ea"/>
        <a:cs typeface="+mn-cs"/>
      </a:defRPr>
    </a:lvl5pPr>
    <a:lvl6pPr marL="0" indent="0" algn="l" defTabSz="365756" rtl="0" eaLnBrk="1" fontAlgn="base" hangingPunct="1">
      <a:lnSpc>
        <a:spcPct val="110000"/>
      </a:lnSpc>
      <a:spcBef>
        <a:spcPts val="0"/>
      </a:spcBef>
      <a:spcAft>
        <a:spcPts val="600"/>
      </a:spcAft>
      <a:buClrTx/>
      <a:buFontTx/>
      <a:buNone/>
      <a:defRPr sz="900" b="0" baseline="0">
        <a:solidFill>
          <a:schemeClr val="bg2"/>
        </a:solidFill>
        <a:latin typeface="+mn-lt"/>
        <a:ea typeface="+mn-ea"/>
        <a:cs typeface="+mn-cs"/>
      </a:defRPr>
    </a:lvl6pPr>
    <a:lvl7pPr>
      <a:lnSpc>
        <a:spcPct val="110000"/>
      </a:lnSpc>
      <a:spcBef>
        <a:spcPts val="0"/>
      </a:spcBef>
      <a:spcAft>
        <a:spcPts val="600"/>
      </a:spcAft>
      <a:buClrTx/>
      <a:buFontTx/>
      <a:buNone/>
      <a:defRPr sz="1000" b="1">
        <a:solidFill>
          <a:schemeClr val="tx1"/>
        </a:solidFill>
        <a:latin typeface="+mn-lt"/>
      </a:defRPr>
    </a:lvl7pPr>
    <a:lvl8pPr>
      <a:lnSpc>
        <a:spcPct val="110000"/>
      </a:lnSpc>
      <a:spcBef>
        <a:spcPts val="0"/>
      </a:spcBef>
      <a:spcAft>
        <a:spcPts val="600"/>
      </a:spcAft>
      <a:buClrTx/>
      <a:buFontTx/>
      <a:buNone/>
      <a:defRPr sz="1600" i="1" baseline="0">
        <a:solidFill>
          <a:schemeClr val="bg2"/>
        </a:solidFill>
        <a:latin typeface="+mn-lt"/>
      </a:defRPr>
    </a:lvl8pPr>
    <a:lvl9pPr>
      <a:lnSpc>
        <a:spcPct val="110000"/>
      </a:lnSpc>
      <a:spcBef>
        <a:spcPts val="0"/>
      </a:spcBef>
      <a:spcAft>
        <a:spcPts val="600"/>
      </a:spcAft>
      <a:buClrTx/>
      <a:buFontTx/>
      <a:buNone/>
      <a:defRPr sz="1000" cap="all" baseline="0">
        <a:solidFill>
          <a:schemeClr val="bg2"/>
        </a:solidFill>
        <a:latin typeface="+mn-lt"/>
      </a:defRPr>
    </a:lvl9pPr>
  </p:defaultTextStyle>
  <p:extLst>
    <p:ext uri="{EFAFB233-063F-42B5-8137-9DF3F51BA10A}">
      <p15:sldGuideLst xmlns:p15="http://schemas.microsoft.com/office/powerpoint/2012/main">
        <p15:guide id="1" orient="horz" pos="720" userDrawn="1">
          <p15:clr>
            <a:srgbClr val="5CB335"/>
          </p15:clr>
        </p15:guide>
        <p15:guide id="2" orient="horz" pos="4004" userDrawn="1">
          <p15:clr>
            <a:srgbClr val="5CB335"/>
          </p15:clr>
        </p15:guide>
        <p15:guide id="3" orient="horz" pos="4061" userDrawn="1">
          <p15:clr>
            <a:srgbClr val="A4A3A4"/>
          </p15:clr>
        </p15:guide>
        <p15:guide id="5" orient="horz" pos="572" userDrawn="1">
          <p15:clr>
            <a:srgbClr val="A4A3A4"/>
          </p15:clr>
        </p15:guide>
        <p15:guide id="6" orient="horz" pos="51" userDrawn="1">
          <p15:clr>
            <a:srgbClr val="A4A3A4"/>
          </p15:clr>
        </p15:guide>
        <p15:guide id="9" pos="7446" userDrawn="1">
          <p15:clr>
            <a:srgbClr val="5CB335"/>
          </p15:clr>
        </p15:guide>
        <p15:guide id="10" pos="3840" userDrawn="1">
          <p15:clr>
            <a:srgbClr val="FBAE40"/>
          </p15:clr>
        </p15:guide>
        <p15:guide id="11" pos="3931" userDrawn="1">
          <p15:clr>
            <a:srgbClr val="5CB335"/>
          </p15:clr>
        </p15:guide>
        <p15:guide id="12" orient="horz" pos="3226" userDrawn="1">
          <p15:clr>
            <a:srgbClr val="A4A3A4"/>
          </p15:clr>
        </p15:guide>
        <p15:guide id="13" orient="horz" pos="2750" userDrawn="1">
          <p15:clr>
            <a:srgbClr val="A4A3A4"/>
          </p15:clr>
        </p15:guide>
        <p15:guide id="14" pos="5816" userDrawn="1">
          <p15:clr>
            <a:srgbClr val="FBAE40"/>
          </p15:clr>
        </p15:guide>
        <p15:guide id="15" pos="3752" userDrawn="1">
          <p15:clr>
            <a:srgbClr val="5CB335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green"/>
    </p:penClr>
    <p:extLst>
      <p:ext uri="{EC167BDD-8182-4AB7-AECC-EB403E3ABB37}">
        <p14:laserClr xmlns:p14="http://schemas.microsoft.com/office/powerpoint/2010/main">
          <a:srgbClr val="5CB335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B335"/>
    <a:srgbClr val="FF3130"/>
    <a:srgbClr val="FAFDF9"/>
    <a:srgbClr val="F8FCF6"/>
    <a:srgbClr val="F6FBF3"/>
    <a:srgbClr val="F1F9ED"/>
    <a:srgbClr val="EDF8E8"/>
    <a:srgbClr val="E8F6E2"/>
    <a:srgbClr val="FCFCFC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EBB1D203-1372-4C57-B10A-E3B16F0ECCC6}">
  <a:tblStyle styleId="{EBB1D203-1372-4C57-B10A-E3B16F0ECCC6}" styleName="AlixPartners Table">
    <a:wholeTbl>
      <a:tcTxStyle>
        <a:fontRef idx="minor">
          <a:prstClr val="black"/>
        </a:fontRef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9525" cmpd="sng">
              <a:solidFill>
                <a:schemeClr val="accent5"/>
              </a:solidFill>
            </a:ln>
          </a:bottom>
          <a:insideH>
            <a:ln w="9525" cmpd="sng">
              <a:solidFill>
                <a:schemeClr val="bg2"/>
              </a:solidFill>
              <a:prstDash val="dot"/>
            </a:ln>
          </a:insideH>
          <a:insideV>
            <a:ln w="19050" cmpd="sng">
              <a:solidFill>
                <a:schemeClr val="bg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bg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white"/>
        </a:fontRef>
        <a:schemeClr val="bg1"/>
      </a:tcTxStyle>
      <a:tcStyle>
        <a:tcBdr>
          <a:insideH>
            <a:ln w="19050" cmpd="sng">
              <a:solidFill>
                <a:schemeClr val="bg1"/>
              </a:solidFill>
            </a:ln>
          </a:insideH>
        </a:tcBdr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bg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white"/>
        </a:fontRef>
        <a:schemeClr val="bg1"/>
      </a:tcTxStyle>
      <a:tcStyle>
        <a:tcBdr>
          <a:insideV>
            <a:ln w="1905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</a:tblStyle>
  <a:tblStyle styleId="{8FF73930-04D4-4040-94D7-63C60E4A88DB}" styleName="AlixPartners Complex Table">
    <a:wholeTbl>
      <a:tcTxStyle>
        <a:fontRef idx="minor">
          <a:prstClr val="black"/>
        </a:fontRef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9525" cmpd="sng">
              <a:solidFill>
                <a:schemeClr val="accent5"/>
              </a:solidFill>
            </a:ln>
          </a:bottom>
          <a:insideH>
            <a:ln w="9525" cmpd="sng">
              <a:solidFill>
                <a:schemeClr val="bg2"/>
              </a:solidFill>
              <a:prstDash val="dot"/>
            </a:ln>
          </a:insideH>
          <a:insideV>
            <a:ln w="19050" cmpd="sng">
              <a:solidFill>
                <a:schemeClr val="bg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TxStyle b="on">
        <a:fontRef idx="minor">
          <a:prstClr val="black"/>
        </a:fontRef>
        <a:schemeClr val="tx1"/>
      </a:tcTxStyle>
      <a:tcStyle>
        <a:tcBdr>
          <a:insideH>
            <a:ln w="9525" cmpd="sng">
              <a:solidFill>
                <a:schemeClr val="bg2"/>
              </a:solidFill>
              <a:prstDash val="dot"/>
            </a:ln>
          </a:insideH>
        </a:tcBdr>
        <a:fill>
          <a:noFill/>
        </a:fill>
      </a:tcStyle>
    </a:firstCol>
    <a:lastRow>
      <a:tcTxStyle b="on">
        <a:fontRef idx="minor">
          <a:prstClr val="white"/>
        </a:fontRef>
        <a:schemeClr val="bg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white"/>
        </a:fontRef>
        <a:schemeClr val="bg1"/>
      </a:tcTxStyle>
      <a:tcStyle>
        <a:tcBdr>
          <a:insideV>
            <a:ln w="19050" cmpd="sng">
              <a:solidFill>
                <a:schemeClr val="bg1"/>
              </a:solidFill>
            </a:ln>
          </a:insideV>
        </a:tcBdr>
        <a:fill>
          <a:solidFill>
            <a:schemeClr val="accent2"/>
          </a:solidFill>
        </a:fill>
      </a:tcStyle>
    </a:firstRow>
    <a:nwCell>
      <a:tcTxStyle b="off">
        <a:fontRef idx="minor"/>
        <a:schemeClr val="tx1"/>
      </a:tcTxStyle>
      <a:tcStyle>
        <a:tcBdr/>
        <a:fill>
          <a:solidFill>
            <a:schemeClr val="bg1"/>
          </a:solidFill>
        </a:fill>
      </a:tcStyle>
    </a:nwCell>
  </a:tblStyle>
  <a:tblStyle styleId="{29C7E00D-A442-4B89-85D6-65423FAA1975}" styleName="AlixPartners Multiple Bios">
    <a:wholeTbl>
      <a:tcTxStyle>
        <a:fontRef idx="minor">
          <a:prstClr val="black"/>
        </a:fontRef>
        <a:schemeClr val="tx1"/>
      </a:tcTxStyle>
      <a:tcStyle>
        <a:tcBdr>
          <a:left>
            <a:ln w="0" cmpd="sng">
              <a:noFill/>
            </a:ln>
          </a:left>
          <a:right>
            <a:ln w="0" cmpd="sng">
              <a:noFill/>
            </a:ln>
          </a:right>
          <a:top>
            <a:ln w="0" cmpd="sng">
              <a:noFill/>
            </a:ln>
          </a:top>
          <a:bottom>
            <a:ln w="0" cmpd="sng">
              <a:noFill/>
            </a:ln>
          </a:bottom>
          <a:insideH>
            <a:ln w="0" cmpd="sng">
              <a:noFill/>
            </a:ln>
          </a:insideH>
          <a:insideV>
            <a:ln w="19050" cmpd="sng">
              <a:solidFill>
                <a:schemeClr val="bg1"/>
              </a:solidFill>
            </a:ln>
          </a:insideV>
        </a:tcBdr>
        <a:fill>
          <a:noFill/>
        </a:fill>
      </a:tcStyle>
    </a:wholeTbl>
    <a:firstRow>
      <a:tcTxStyle b="off" i="off">
        <a:fontRef idx="minor">
          <a:prstClr val="black"/>
        </a:fontRef>
        <a:schemeClr val="tx1"/>
      </a:tcTxStyle>
      <a:tcStyle>
        <a:tcBdr>
          <a:bottom>
            <a:ln w="9525" cmpd="sng">
              <a:solidFill>
                <a:schemeClr val="accent5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866" autoAdjust="0"/>
    <p:restoredTop sz="95979" autoAdjust="0"/>
  </p:normalViewPr>
  <p:slideViewPr>
    <p:cSldViewPr snapToGrid="0" snapToObjects="1" showGuides="1">
      <p:cViewPr varScale="1">
        <p:scale>
          <a:sx n="84" d="100"/>
          <a:sy n="84" d="100"/>
        </p:scale>
        <p:origin x="1051" y="110"/>
      </p:cViewPr>
      <p:guideLst>
        <p:guide orient="horz" pos="720"/>
        <p:guide orient="horz" pos="4004"/>
        <p:guide orient="horz" pos="4061"/>
        <p:guide orient="horz" pos="572"/>
        <p:guide orient="horz" pos="51"/>
        <p:guide pos="7446"/>
        <p:guide pos="3840"/>
        <p:guide pos="3931"/>
        <p:guide orient="horz" pos="3226"/>
        <p:guide orient="horz" pos="2750"/>
        <p:guide pos="5816"/>
        <p:guide pos="3752"/>
      </p:guideLst>
    </p:cSldViewPr>
  </p:slideViewPr>
  <p:outlineViewPr>
    <p:cViewPr>
      <p:scale>
        <a:sx n="33" d="100"/>
        <a:sy n="33" d="100"/>
      </p:scale>
      <p:origin x="0" y="116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9" d="100"/>
          <a:sy n="79" d="100"/>
        </p:scale>
        <p:origin x="3834" y="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10204081632654"/>
          <c:y val="6.1320754716981132E-2"/>
          <c:w val="0.83171425867174331"/>
          <c:h val="0.77574542787878831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aso di riferimento (EIA)</c:v>
                </c:pt>
              </c:strCache>
            </c:strRef>
          </c:tx>
          <c:spPr>
            <a:ln w="28575">
              <a:solidFill>
                <a:srgbClr val="032E45"/>
              </a:solidFill>
              <a:prstDash val="solid"/>
            </a:ln>
          </c:spPr>
          <c:marker>
            <c:symbol val="none"/>
          </c:marker>
          <c:xVal>
            <c:numRef>
              <c:f>Sheet1!$B$1:$Y$1</c:f>
              <c:numCache>
                <c:formatCode>General</c:formatCode>
                <c:ptCount val="24"/>
                <c:pt idx="0">
                  <c:v>2012.0000000002287</c:v>
                </c:pt>
                <c:pt idx="1">
                  <c:v>2013.0000000002287</c:v>
                </c:pt>
                <c:pt idx="2">
                  <c:v>2014.000000000229</c:v>
                </c:pt>
                <c:pt idx="3">
                  <c:v>2015.0000000002292</c:v>
                </c:pt>
                <c:pt idx="4">
                  <c:v>2016.0000000002292</c:v>
                </c:pt>
                <c:pt idx="5">
                  <c:v>2017.0000000002292</c:v>
                </c:pt>
                <c:pt idx="6">
                  <c:v>2018.0000000002294</c:v>
                </c:pt>
                <c:pt idx="7">
                  <c:v>2019.0000000002296</c:v>
                </c:pt>
                <c:pt idx="8">
                  <c:v>2020.0000000002296</c:v>
                </c:pt>
                <c:pt idx="9">
                  <c:v>2021.0000000002296</c:v>
                </c:pt>
                <c:pt idx="10">
                  <c:v>2022.0000000002299</c:v>
                </c:pt>
                <c:pt idx="11">
                  <c:v>2023.0000000002301</c:v>
                </c:pt>
                <c:pt idx="12">
                  <c:v>2024.0000000002301</c:v>
                </c:pt>
                <c:pt idx="13">
                  <c:v>2025.0000000002301</c:v>
                </c:pt>
                <c:pt idx="14">
                  <c:v>2026.0000000002303</c:v>
                </c:pt>
                <c:pt idx="15">
                  <c:v>2027.0000000002306</c:v>
                </c:pt>
                <c:pt idx="16">
                  <c:v>2028.0000000002306</c:v>
                </c:pt>
                <c:pt idx="17">
                  <c:v>2029.0000000002306</c:v>
                </c:pt>
                <c:pt idx="18">
                  <c:v>2030.0000000002308</c:v>
                </c:pt>
                <c:pt idx="19">
                  <c:v>2031.000000000231</c:v>
                </c:pt>
                <c:pt idx="20">
                  <c:v>2032.000000000231</c:v>
                </c:pt>
                <c:pt idx="21">
                  <c:v>2033.000000000231</c:v>
                </c:pt>
                <c:pt idx="22">
                  <c:v>2034.0000000002312</c:v>
                </c:pt>
                <c:pt idx="23">
                  <c:v>2035.0000000002315</c:v>
                </c:pt>
              </c:numCache>
            </c:numRef>
          </c:xVal>
          <c:yVal>
            <c:numRef>
              <c:f>Sheet1!$B$2:$Y$2</c:f>
              <c:numCache>
                <c:formatCode>General</c:formatCode>
                <c:ptCount val="24"/>
                <c:pt idx="0">
                  <c:v>1002.785948000114</c:v>
                </c:pt>
                <c:pt idx="1">
                  <c:v>893.23030310010154</c:v>
                </c:pt>
                <c:pt idx="2">
                  <c:v>742.05291810008441</c:v>
                </c:pt>
                <c:pt idx="3">
                  <c:v>684.51276630007783</c:v>
                </c:pt>
                <c:pt idx="4">
                  <c:v>640.38877710007273</c:v>
                </c:pt>
                <c:pt idx="5">
                  <c:v>601.54842690006842</c:v>
                </c:pt>
                <c:pt idx="6">
                  <c:v>570.93189010006495</c:v>
                </c:pt>
                <c:pt idx="7">
                  <c:v>543.40861380006174</c:v>
                </c:pt>
                <c:pt idx="8">
                  <c:v>517.08339280005873</c:v>
                </c:pt>
                <c:pt idx="9">
                  <c:v>497.10987240005647</c:v>
                </c:pt>
                <c:pt idx="10">
                  <c:v>477.95264650005436</c:v>
                </c:pt>
                <c:pt idx="11">
                  <c:v>460.54926350005235</c:v>
                </c:pt>
                <c:pt idx="12">
                  <c:v>443.96221040005048</c:v>
                </c:pt>
                <c:pt idx="13">
                  <c:v>427.79342600004867</c:v>
                </c:pt>
                <c:pt idx="14">
                  <c:v>412.09948250004686</c:v>
                </c:pt>
                <c:pt idx="15">
                  <c:v>396.86848850004515</c:v>
                </c:pt>
                <c:pt idx="16">
                  <c:v>382.05236050004345</c:v>
                </c:pt>
                <c:pt idx="17">
                  <c:v>367.65033510004179</c:v>
                </c:pt>
                <c:pt idx="18">
                  <c:v>353.65247960004018</c:v>
                </c:pt>
                <c:pt idx="19">
                  <c:v>341.72372930003883</c:v>
                </c:pt>
                <c:pt idx="20">
                  <c:v>330.03121710003751</c:v>
                </c:pt>
                <c:pt idx="21">
                  <c:v>318.5882658000362</c:v>
                </c:pt>
                <c:pt idx="22">
                  <c:v>307.37356470003493</c:v>
                </c:pt>
                <c:pt idx="23">
                  <c:v>303.3200651000345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6DC-429B-9C91-53F8D821C67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Caso sulle batterie ad alta tecnologia (EIA)</c:v>
                </c:pt>
              </c:strCache>
            </c:strRef>
          </c:tx>
          <c:spPr>
            <a:ln w="28575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B$1:$Y$1</c:f>
              <c:numCache>
                <c:formatCode>General</c:formatCode>
                <c:ptCount val="24"/>
                <c:pt idx="0">
                  <c:v>2012.0000000002287</c:v>
                </c:pt>
                <c:pt idx="1">
                  <c:v>2013.0000000002287</c:v>
                </c:pt>
                <c:pt idx="2">
                  <c:v>2014.000000000229</c:v>
                </c:pt>
                <c:pt idx="3">
                  <c:v>2015.0000000002292</c:v>
                </c:pt>
                <c:pt idx="4">
                  <c:v>2016.0000000002292</c:v>
                </c:pt>
                <c:pt idx="5">
                  <c:v>2017.0000000002292</c:v>
                </c:pt>
                <c:pt idx="6">
                  <c:v>2018.0000000002294</c:v>
                </c:pt>
                <c:pt idx="7">
                  <c:v>2019.0000000002296</c:v>
                </c:pt>
                <c:pt idx="8">
                  <c:v>2020.0000000002296</c:v>
                </c:pt>
                <c:pt idx="9">
                  <c:v>2021.0000000002296</c:v>
                </c:pt>
                <c:pt idx="10">
                  <c:v>2022.0000000002299</c:v>
                </c:pt>
                <c:pt idx="11">
                  <c:v>2023.0000000002301</c:v>
                </c:pt>
                <c:pt idx="12">
                  <c:v>2024.0000000002301</c:v>
                </c:pt>
                <c:pt idx="13">
                  <c:v>2025.0000000002301</c:v>
                </c:pt>
                <c:pt idx="14">
                  <c:v>2026.0000000002303</c:v>
                </c:pt>
                <c:pt idx="15">
                  <c:v>2027.0000000002306</c:v>
                </c:pt>
                <c:pt idx="16">
                  <c:v>2028.0000000002306</c:v>
                </c:pt>
                <c:pt idx="17">
                  <c:v>2029.0000000002306</c:v>
                </c:pt>
                <c:pt idx="18">
                  <c:v>2030.0000000002308</c:v>
                </c:pt>
                <c:pt idx="19">
                  <c:v>2031.000000000231</c:v>
                </c:pt>
                <c:pt idx="20">
                  <c:v>2032.000000000231</c:v>
                </c:pt>
                <c:pt idx="21">
                  <c:v>2033.000000000231</c:v>
                </c:pt>
                <c:pt idx="22">
                  <c:v>2034.0000000002312</c:v>
                </c:pt>
                <c:pt idx="23">
                  <c:v>2035.0000000002315</c:v>
                </c:pt>
              </c:numCache>
            </c:numRef>
          </c:xVal>
          <c:yVal>
            <c:numRef>
              <c:f>Sheet1!$B$3:$Y$3</c:f>
              <c:numCache>
                <c:formatCode>General</c:formatCode>
                <c:ptCount val="24"/>
                <c:pt idx="0">
                  <c:v>1002.785948000114</c:v>
                </c:pt>
                <c:pt idx="1">
                  <c:v>677.70925540007704</c:v>
                </c:pt>
                <c:pt idx="2">
                  <c:v>522.90410160005945</c:v>
                </c:pt>
                <c:pt idx="3">
                  <c:v>401.41534490004562</c:v>
                </c:pt>
                <c:pt idx="4">
                  <c:v>368.40566670004188</c:v>
                </c:pt>
                <c:pt idx="5">
                  <c:v>338.30797910003849</c:v>
                </c:pt>
                <c:pt idx="6">
                  <c:v>312.93685810003558</c:v>
                </c:pt>
                <c:pt idx="7">
                  <c:v>290.11022680003299</c:v>
                </c:pt>
                <c:pt idx="8">
                  <c:v>268.87823460003057</c:v>
                </c:pt>
                <c:pt idx="9">
                  <c:v>253.14591140002878</c:v>
                </c:pt>
                <c:pt idx="10">
                  <c:v>239.27714210002719</c:v>
                </c:pt>
                <c:pt idx="11">
                  <c:v>225.93177530002569</c:v>
                </c:pt>
                <c:pt idx="12">
                  <c:v>213.11059660002422</c:v>
                </c:pt>
                <c:pt idx="13">
                  <c:v>201.22276110002289</c:v>
                </c:pt>
                <c:pt idx="14">
                  <c:v>191.32613120002173</c:v>
                </c:pt>
                <c:pt idx="15">
                  <c:v>181.63139210002066</c:v>
                </c:pt>
                <c:pt idx="16">
                  <c:v>172.11936530001955</c:v>
                </c:pt>
                <c:pt idx="17">
                  <c:v>162.7875814000185</c:v>
                </c:pt>
                <c:pt idx="18">
                  <c:v>153.9305451000175</c:v>
                </c:pt>
                <c:pt idx="19">
                  <c:v>149.84675420001702</c:v>
                </c:pt>
                <c:pt idx="20">
                  <c:v>145.82822000001656</c:v>
                </c:pt>
                <c:pt idx="21">
                  <c:v>141.88993070001615</c:v>
                </c:pt>
                <c:pt idx="22">
                  <c:v>138.01504620001569</c:v>
                </c:pt>
                <c:pt idx="23">
                  <c:v>134.631213500015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6DC-429B-9C91-53F8D821C6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8466816"/>
        <c:axId val="308468352"/>
      </c:scatterChart>
      <c:valAx>
        <c:axId val="308466816"/>
        <c:scaling>
          <c:orientation val="minMax"/>
          <c:max val="2035"/>
          <c:min val="2010"/>
        </c:scaling>
        <c:delete val="0"/>
        <c:axPos val="b"/>
        <c:numFmt formatCode="0;\-0" sourceLinked="0"/>
        <c:majorTickMark val="none"/>
        <c:minorTickMark val="none"/>
        <c:tickLblPos val="nextTo"/>
        <c:spPr>
          <a:ln w="6350">
            <a:solidFill>
              <a:schemeClr val="accent5"/>
            </a:solidFill>
            <a:prstDash val="solid"/>
          </a:ln>
        </c:spPr>
        <c:txPr>
          <a:bodyPr rot="0" vert="horz"/>
          <a:lstStyle/>
          <a:p>
            <a:pPr>
              <a:defRPr b="0"/>
            </a:pPr>
            <a:endParaRPr lang="it-IT"/>
          </a:p>
        </c:txPr>
        <c:crossAx val="308468352"/>
        <c:crossesAt val="0"/>
        <c:crossBetween val="midCat"/>
        <c:majorUnit val="5"/>
      </c:valAx>
      <c:valAx>
        <c:axId val="308468352"/>
        <c:scaling>
          <c:orientation val="minMax"/>
          <c:max val="1100"/>
          <c:min val="0"/>
        </c:scaling>
        <c:delete val="0"/>
        <c:axPos val="l"/>
        <c:majorGridlines>
          <c:spPr>
            <a:ln w="6350">
              <a:solidFill>
                <a:srgbClr val="DEDFE0"/>
              </a:solidFill>
              <a:prstDash val="solid"/>
            </a:ln>
          </c:spPr>
        </c:majorGridlines>
        <c:numFmt formatCode="#,##0_);\(#,##0\);\-" sourceLinked="0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808083"/>
                </a:solidFill>
                <a:prstDash val="solid"/>
                <a:round/>
              </a14:hiddenLine>
            </a:ext>
          </a:extLst>
        </c:spPr>
        <c:txPr>
          <a:bodyPr rot="0" vert="horz"/>
          <a:lstStyle/>
          <a:p>
            <a:pPr>
              <a:defRPr/>
            </a:pPr>
            <a:endParaRPr lang="it-IT"/>
          </a:p>
        </c:txPr>
        <c:crossAx val="308466816"/>
        <c:crossesAt val="2010"/>
        <c:crossBetween val="midCat"/>
        <c:majorUnit val="100"/>
      </c:valAx>
      <c:spPr>
        <a:noFill/>
        <a:ln w="25393">
          <a:noFill/>
        </a:ln>
      </c:spPr>
    </c:plotArea>
    <c:legend>
      <c:legendPos val="b"/>
      <c:overlay val="0"/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0" i="0" u="none" strike="noStrike" baseline="0">
          <a:solidFill>
            <a:srgbClr val="383838"/>
          </a:solidFill>
          <a:latin typeface="+mn-lt"/>
          <a:ea typeface="Calibri"/>
          <a:cs typeface="Calibri"/>
        </a:defRPr>
      </a:pPr>
      <a:endParaRPr lang="it-IT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984330" y="1"/>
            <a:ext cx="3169920" cy="480060"/>
          </a:xfrm>
          <a:prstGeom prst="rect">
            <a:avLst/>
          </a:prstGeom>
        </p:spPr>
        <p:txBody>
          <a:bodyPr vert="horz" lIns="97923" tIns="48962" rIns="97923" bIns="48962" rtlCol="0"/>
          <a:lstStyle>
            <a:lvl1pPr algn="l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b="1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54249" y="1"/>
            <a:ext cx="2159259" cy="480060"/>
          </a:xfrm>
          <a:prstGeom prst="rect">
            <a:avLst/>
          </a:prstGeom>
        </p:spPr>
        <p:txBody>
          <a:bodyPr vert="horz" lIns="97923" tIns="48962" rIns="97923" bIns="48962" rtlCol="0"/>
          <a:lstStyle>
            <a:lvl1pPr algn="r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19474"/>
            <a:ext cx="3169920" cy="480060"/>
          </a:xfrm>
          <a:prstGeom prst="rect">
            <a:avLst/>
          </a:prstGeom>
        </p:spPr>
        <p:txBody>
          <a:bodyPr vert="horz" lIns="97923" tIns="48962" rIns="97923" bIns="48962" rtlCol="0" anchor="b"/>
          <a:lstStyle>
            <a:lvl1pPr algn="l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9" y="9119474"/>
            <a:ext cx="3169920" cy="480060"/>
          </a:xfrm>
          <a:prstGeom prst="rect">
            <a:avLst/>
          </a:prstGeom>
        </p:spPr>
        <p:txBody>
          <a:bodyPr vert="horz" lIns="97923" tIns="48962" rIns="97923" bIns="48962" rtlCol="0" anchor="b"/>
          <a:lstStyle>
            <a:lvl1pPr algn="r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fld id="{6155F851-B96A-6448-9EFC-9BE9E8A5F1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310" y="0"/>
            <a:ext cx="1896020" cy="823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1027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 b="1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5281" y="1"/>
            <a:ext cx="3169920" cy="480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3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76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8425" y="560388"/>
            <a:ext cx="7118350" cy="40052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41381" y="4767071"/>
            <a:ext cx="6632444" cy="4114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53728"/>
            <a:ext cx="3169920" cy="34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latin typeface="Arial" pitchFamily="-109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5281" y="9253728"/>
            <a:ext cx="3169920" cy="347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7923" tIns="48962" rIns="97923" bIns="48962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Arial" pitchFamily="-109" charset="0"/>
              </a:defRPr>
            </a:lvl1pPr>
          </a:lstStyle>
          <a:p>
            <a:pPr>
              <a:defRPr/>
            </a:pPr>
            <a:fld id="{1D09B646-3DDD-604D-B50F-1FF9B332C2B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7362" y="9333737"/>
            <a:ext cx="944962" cy="146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7599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70" kern="1200">
        <a:solidFill>
          <a:schemeClr val="tx1"/>
        </a:solidFill>
        <a:latin typeface="Arial" charset="0"/>
        <a:ea typeface="ＭＳ Ｐゴシック" pitchFamily="1" charset="-128"/>
        <a:cs typeface="ＭＳ Ｐゴシック" pitchFamily="-123" charset="-128"/>
      </a:defRPr>
    </a:lvl1pPr>
    <a:lvl2pPr marL="231775" indent="-2317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2pPr>
    <a:lvl3pPr marL="463550" indent="-2317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3pPr>
    <a:lvl4pPr marL="682625" indent="-2190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4pPr>
    <a:lvl5pPr marL="914400" indent="-231775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27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5pPr>
    <a:lvl6pPr marL="2364943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6pPr>
    <a:lvl7pPr marL="2837933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7pPr>
    <a:lvl8pPr marL="3310922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8pPr>
    <a:lvl9pPr marL="3783910" algn="l" defTabSz="945977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D09B646-3DDD-604D-B50F-1FF9B332C2BF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0886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tex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AP_Annotations"/>
          <p:cNvGrpSpPr>
            <a:grpSpLocks noUngrp="1" noRot="1" noChangeAspect="1" noResize="1"/>
          </p:cNvGrpSpPr>
          <p:nvPr userDrawn="1"/>
        </p:nvGrpSpPr>
        <p:grpSpPr>
          <a:xfrm>
            <a:off x="-1790701" y="-355584"/>
            <a:ext cx="13647485" cy="3978583"/>
            <a:chOff x="-1343026" y="-355584"/>
            <a:chExt cx="10235614" cy="3978583"/>
          </a:xfrm>
        </p:grpSpPr>
        <p:sp>
          <p:nvSpPr>
            <p:cNvPr id="5" name="Annotation 07"/>
            <p:cNvSpPr txBox="1">
              <a:spLocks noSelect="1" noMove="1"/>
            </p:cNvSpPr>
            <p:nvPr userDrawn="1"/>
          </p:nvSpPr>
          <p:spPr>
            <a:xfrm>
              <a:off x="-1343026" y="517086"/>
              <a:ext cx="1343025" cy="397032"/>
            </a:xfrm>
            <a:prstGeom prst="rect">
              <a:avLst/>
            </a:prstGeom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 sz="1000"/>
              </a:defPPr>
              <a:lvl1pPr>
                <a:buFont typeface="Arial" panose="020B0604020202020204" pitchFamily="34" charset="0"/>
                <a:defRPr sz="600">
                  <a:solidFill>
                    <a:srgbClr val="5CB335"/>
                  </a:solidFill>
                </a:defRPr>
              </a:lvl1pPr>
            </a:lstStyle>
            <a:p>
              <a:pPr lvl="0"/>
              <a:r>
                <a:rPr lang="en-US" sz="600" dirty="0">
                  <a:solidFill>
                    <a:schemeClr val="bg2"/>
                  </a:solidFill>
                </a:rPr>
                <a:t>ALIXPARTNERS</a:t>
              </a:r>
              <a:r>
                <a:rPr lang="en-US" sz="600" baseline="0" dirty="0">
                  <a:solidFill>
                    <a:schemeClr val="bg2"/>
                  </a:solidFill>
                </a:rPr>
                <a:t> LOGO</a:t>
              </a:r>
              <a:br>
                <a:rPr lang="en-US" sz="600" baseline="0" dirty="0">
                  <a:solidFill>
                    <a:schemeClr val="bg2"/>
                  </a:solidFill>
                </a:rPr>
              </a:br>
              <a:r>
                <a:rPr lang="en-US" sz="600" baseline="0" dirty="0">
                  <a:solidFill>
                    <a:schemeClr val="bg2"/>
                  </a:solidFill>
                </a:rPr>
                <a:t>SITS ON TOP OF THIS LINE</a:t>
              </a:r>
              <a:br>
                <a:rPr lang="en-US" sz="600" baseline="0" dirty="0">
                  <a:solidFill>
                    <a:schemeClr val="bg2"/>
                  </a:solidFill>
                </a:rPr>
              </a:br>
              <a:r>
                <a:rPr lang="en-US" sz="600" baseline="0" dirty="0">
                  <a:solidFill>
                    <a:schemeClr val="bg2"/>
                  </a:solidFill>
                </a:rPr>
                <a:t>USE TO ALIGN CLIENT LOGO</a:t>
              </a:r>
              <a:endParaRPr lang="en-US" sz="600" dirty="0">
                <a:solidFill>
                  <a:schemeClr val="bg2"/>
                </a:solidFill>
              </a:endParaRPr>
            </a:p>
          </p:txBody>
        </p:sp>
        <p:sp>
          <p:nvSpPr>
            <p:cNvPr id="17" name="Annotation 06"/>
            <p:cNvSpPr txBox="1">
              <a:spLocks noSelect="1" noMove="1"/>
            </p:cNvSpPr>
            <p:nvPr userDrawn="1"/>
          </p:nvSpPr>
          <p:spPr>
            <a:xfrm>
              <a:off x="-1343025" y="3438525"/>
              <a:ext cx="1343025" cy="184474"/>
            </a:xfr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18" name="Annotation 05"/>
            <p:cNvSpPr txBox="1">
              <a:spLocks noSelect="1" noMove="1"/>
            </p:cNvSpPr>
            <p:nvPr userDrawn="1"/>
          </p:nvSpPr>
          <p:spPr>
            <a:xfrm>
              <a:off x="4572000" y="-304800"/>
              <a:ext cx="1343025" cy="193899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19" name="Annotation 04"/>
            <p:cNvSpPr txBox="1">
              <a:spLocks noSelect="1" noMove="1"/>
            </p:cNvSpPr>
            <p:nvPr userDrawn="1"/>
          </p:nvSpPr>
          <p:spPr>
            <a:xfrm>
              <a:off x="-1343025" y="1143000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5CB335"/>
                  </a:solidFill>
                </a:rPr>
                <a:t>GREEN</a:t>
              </a:r>
              <a:r>
                <a:rPr lang="en-US" sz="600" baseline="0" dirty="0">
                  <a:solidFill>
                    <a:srgbClr val="5CB335"/>
                  </a:solidFill>
                </a:rPr>
                <a:t> GUIDES DELINEATE MAIN CONTENT AREA</a:t>
              </a:r>
            </a:p>
          </p:txBody>
        </p:sp>
        <p:sp>
          <p:nvSpPr>
            <p:cNvPr id="20" name="Annotation 03"/>
            <p:cNvSpPr txBox="1">
              <a:spLocks noSelect="1" noMove="1"/>
            </p:cNvSpPr>
            <p:nvPr userDrawn="1"/>
          </p:nvSpPr>
          <p:spPr>
            <a:xfrm>
              <a:off x="2508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baseline="0" dirty="0">
                  <a:solidFill>
                    <a:srgbClr val="5CB335"/>
                  </a:solidFill>
                </a:rPr>
                <a:t>GREEN GUIDES DELINEATE MAIN CONTENT AREA</a:t>
              </a:r>
            </a:p>
          </p:txBody>
        </p:sp>
        <p:sp>
          <p:nvSpPr>
            <p:cNvPr id="21" name="Annotation 02"/>
            <p:cNvSpPr txBox="1">
              <a:spLocks noSelect="1" noMove="1"/>
            </p:cNvSpPr>
            <p:nvPr userDrawn="1"/>
          </p:nvSpPr>
          <p:spPr>
            <a:xfrm>
              <a:off x="7549563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 algn="r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5CB335"/>
                  </a:solidFill>
                </a:rPr>
                <a:t>CLIENT LOGO IS</a:t>
              </a:r>
              <a:r>
                <a:rPr lang="en-US" sz="600" baseline="0" dirty="0">
                  <a:solidFill>
                    <a:srgbClr val="5CB335"/>
                  </a:solidFill>
                </a:rPr>
                <a:t> </a:t>
              </a:r>
              <a:br>
                <a:rPr lang="en-US" sz="600" baseline="0" dirty="0">
                  <a:solidFill>
                    <a:srgbClr val="5CB335"/>
                  </a:solidFill>
                </a:rPr>
              </a:br>
              <a:r>
                <a:rPr lang="en-US" sz="600" baseline="0" dirty="0">
                  <a:solidFill>
                    <a:srgbClr val="5CB335"/>
                  </a:solidFill>
                </a:rPr>
                <a:t>TOP-RIGHT ALIGNED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  <p:sp>
          <p:nvSpPr>
            <p:cNvPr id="22" name="Annotation 01"/>
            <p:cNvSpPr txBox="1">
              <a:spLocks noSelect="1" noMove="1"/>
            </p:cNvSpPr>
            <p:nvPr userDrawn="1"/>
          </p:nvSpPr>
          <p:spPr>
            <a:xfrm>
              <a:off x="-13430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600" dirty="0">
                  <a:solidFill>
                    <a:srgbClr val="FF3130"/>
                  </a:solidFill>
                </a:rPr>
                <a:t>ENABLE </a:t>
              </a:r>
              <a:r>
                <a:rPr lang="en-US" sz="600" baseline="0" dirty="0">
                  <a:solidFill>
                    <a:srgbClr val="FF3130"/>
                  </a:solidFill>
                </a:rPr>
                <a:t>GUIDES UNDER</a:t>
              </a:r>
              <a:br>
                <a:rPr lang="en-US" sz="600" baseline="0" dirty="0">
                  <a:solidFill>
                    <a:srgbClr val="FF3130"/>
                  </a:solidFill>
                </a:rPr>
              </a:br>
              <a:r>
                <a:rPr lang="en-US" sz="600" baseline="0" dirty="0">
                  <a:solidFill>
                    <a:srgbClr val="FF3130"/>
                  </a:solidFill>
                </a:rPr>
                <a:t>VIEW – SHOW – GUIDES</a:t>
              </a:r>
            </a:p>
          </p:txBody>
        </p:sp>
      </p:grp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40117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"/>
          <p:cNvSpPr>
            <a:spLocks noGrp="1" noRot="1"/>
          </p:cNvSpPr>
          <p:nvPr userDrawn="1">
            <p:ph type="body" sz="quarter" idx="12" hasCustomPrompt="1"/>
          </p:nvPr>
        </p:nvSpPr>
        <p:spPr>
          <a:xfrm>
            <a:off x="368301" y="4509210"/>
            <a:ext cx="8411633" cy="257369"/>
          </a:xfrm>
          <a:prstGeom prst="rect">
            <a:avLst/>
          </a:prstGeom>
        </p:spPr>
        <p:txBody>
          <a:bodyPr vert="horz" wrap="square" lIns="0" tIns="0" rIns="0" bIns="71991" rtlCol="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US" sz="1200" b="1" cap="none" baseline="0" dirty="0" smtClean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en-US" noProof="0" dirty="0"/>
              <a:t>Date with full month and four digit year</a:t>
            </a:r>
          </a:p>
        </p:txBody>
      </p:sp>
      <p:sp>
        <p:nvSpPr>
          <p:cNvPr id="9" name="Document Title"/>
          <p:cNvSpPr>
            <a:spLocks noGrp="1"/>
          </p:cNvSpPr>
          <p:nvPr>
            <p:ph type="title" hasCustomPrompt="1"/>
          </p:nvPr>
        </p:nvSpPr>
        <p:spPr>
          <a:xfrm>
            <a:off x="368301" y="2670886"/>
            <a:ext cx="8409519" cy="75811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lang="en-US" sz="2800" b="1" baseline="0" dirty="0" smtClean="0">
                <a:latin typeface="+mj-lt"/>
              </a:defRPr>
            </a:lvl1pPr>
          </a:lstStyle>
          <a:p>
            <a:pPr lvl="0">
              <a:lnSpc>
                <a:spcPct val="90000"/>
              </a:lnSpc>
              <a:spcAft>
                <a:spcPts val="600"/>
              </a:spcAft>
            </a:pPr>
            <a:r>
              <a:rPr lang="en-US" noProof="0" dirty="0"/>
              <a:t>Title is a maximum of two lines and set in 36pt bold type</a:t>
            </a:r>
          </a:p>
        </p:txBody>
      </p:sp>
      <p:sp>
        <p:nvSpPr>
          <p:cNvPr id="11" name="Subtitle Placeholder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68301" y="3429001"/>
            <a:ext cx="8411633" cy="489534"/>
          </a:xfrm>
          <a:prstGeom prst="rect">
            <a:avLst/>
          </a:prstGeom>
        </p:spPr>
        <p:txBody>
          <a:bodyPr vert="horz" wrap="square" lIns="0" tIns="180000" rIns="0" bIns="0" anchor="t" anchorCtr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99551" indent="0">
              <a:buFontTx/>
              <a:buNone/>
              <a:defRPr/>
            </a:lvl2pPr>
            <a:lvl3pPr marL="495483" indent="0">
              <a:buFontTx/>
              <a:buNone/>
              <a:defRPr/>
            </a:lvl3pPr>
            <a:lvl4pPr marL="742548" indent="0">
              <a:buFontTx/>
              <a:buNone/>
              <a:defRPr/>
            </a:lvl4pPr>
            <a:lvl5pPr marL="984180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The subtitle is one line in 20pt</a:t>
            </a:r>
          </a:p>
        </p:txBody>
      </p:sp>
      <p:sp>
        <p:nvSpPr>
          <p:cNvPr id="25" name="Bottom Line"/>
          <p:cNvSpPr>
            <a:spLocks noMove="1" noResize="1" noChangeShapeType="1"/>
          </p:cNvSpPr>
          <p:nvPr userDrawn="1"/>
        </p:nvSpPr>
        <p:spPr bwMode="gray">
          <a:xfrm>
            <a:off x="368300" y="6406855"/>
            <a:ext cx="11457517" cy="0"/>
          </a:xfrm>
          <a:prstGeom prst="line">
            <a:avLst/>
          </a:prstGeom>
          <a:noFill/>
          <a:ln w="6350" cap="rnd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8188" tIns="39095" rIns="78188" bIns="39095" anchor="ctr"/>
          <a:lstStyle/>
          <a:p>
            <a:pPr eaLnBrk="0" hangingPunct="0">
              <a:defRPr/>
            </a:pPr>
            <a:endParaRPr lang="en-US" sz="684" dirty="0">
              <a:ln w="6350" cmpd="sng">
                <a:solidFill>
                  <a:schemeClr val="tx1"/>
                </a:solidFill>
              </a:ln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 dirty="0"/>
              <a:t>Draft / Strictly confidential 01/06/2017 13:41 (Used via “INSERT tab &gt; Header &amp; Footer &gt; Fixed Date”)</a:t>
            </a:r>
          </a:p>
        </p:txBody>
      </p:sp>
      <p:pic>
        <p:nvPicPr>
          <p:cNvPr id="23" name="Picture 22" descr="Alix_green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01" y="460542"/>
            <a:ext cx="2160000" cy="627769"/>
          </a:xfrm>
          <a:prstGeom prst="rect">
            <a:avLst/>
          </a:prstGeom>
        </p:spPr>
      </p:pic>
      <p:sp>
        <p:nvSpPr>
          <p:cNvPr id="24" name="Client Logo"/>
          <p:cNvSpPr>
            <a:spLocks noGrp="1" noChangeAspect="1"/>
          </p:cNvSpPr>
          <p:nvPr>
            <p:ph sz="quarter" idx="16"/>
          </p:nvPr>
        </p:nvSpPr>
        <p:spPr>
          <a:xfrm>
            <a:off x="9305817" y="345224"/>
            <a:ext cx="2520000" cy="1441520"/>
          </a:xfrm>
        </p:spPr>
        <p:txBody>
          <a:bodyPr anchor="ctr"/>
          <a:lstStyle>
            <a:lvl1pPr algn="r">
              <a:defRPr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33137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5529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429990"/>
              </p:ext>
            </p:extLst>
          </p:nvPr>
        </p:nvGraphicFramePr>
        <p:xfrm>
          <a:off x="1812" y="1442"/>
          <a:ext cx="180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2" y="1442"/>
                        <a:ext cx="1809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368301" y="423158"/>
            <a:ext cx="11448000" cy="71984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The agenda page uses same basic slide format and is built with usability in mind: a simple bulleted list</a:t>
            </a:r>
          </a:p>
        </p:txBody>
      </p:sp>
      <p:sp>
        <p:nvSpPr>
          <p:cNvPr id="4" name="Agenda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368301" y="1458010"/>
            <a:ext cx="11448000" cy="4860000"/>
          </a:xfrm>
        </p:spPr>
        <p:txBody>
          <a:bodyPr tIns="411480" anchor="t"/>
          <a:lstStyle>
            <a:lvl1pPr marL="266700" indent="-266700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2400" baseline="0"/>
            </a:lvl1pPr>
            <a:lvl2pPr marL="266700" indent="-266700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2400" b="1" baseline="0"/>
            </a:lvl2pPr>
            <a:lvl3pPr marL="628650" indent="-361950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F0502020204030204" pitchFamily="34" charset="0"/>
              <a:buChar char="−"/>
              <a:defRPr sz="2400" baseline="0"/>
            </a:lvl3pPr>
            <a:lvl4pPr marL="628650" indent="-361950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F0502020204030204" pitchFamily="34" charset="0"/>
              <a:buChar char="−"/>
              <a:defRPr sz="2400" b="1" baseline="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defRPr sz="1100"/>
            </a:lvl5pPr>
          </a:lstStyle>
          <a:p>
            <a:pPr lvl="0"/>
            <a:r>
              <a:rPr lang="en-US" noProof="0" dirty="0"/>
              <a:t>Agenda Items are set in 24pt Verdana Regular</a:t>
            </a:r>
          </a:p>
          <a:p>
            <a:pPr lvl="1"/>
            <a:r>
              <a:rPr lang="en-US" noProof="0" dirty="0"/>
              <a:t>The active agenda point can be highlighted by just hitting tab</a:t>
            </a:r>
          </a:p>
          <a:p>
            <a:pPr lvl="2"/>
            <a:r>
              <a:rPr lang="en-US" noProof="0" dirty="0"/>
              <a:t>A subsection will require two tabs</a:t>
            </a:r>
          </a:p>
          <a:p>
            <a:pPr lvl="3"/>
            <a:r>
              <a:rPr lang="en-US" noProof="0" dirty="0"/>
              <a:t>A highlighted subsection accordingly three tab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Draft / Strictly confidential 01/06/2017 13:41 (Used via “INSERT tab &gt; Header &amp; Footer &gt; Fixed Date”)</a:t>
            </a:r>
          </a:p>
        </p:txBody>
      </p:sp>
      <p:sp>
        <p:nvSpPr>
          <p:cNvPr id="8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66712" y="6453336"/>
            <a:ext cx="8525503" cy="36925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Optional area for disclaimer (</a:t>
            </a:r>
            <a:r>
              <a:rPr lang="en-US" noProof="0" dirty="0" err="1"/>
              <a:t>eg</a:t>
            </a:r>
            <a:r>
              <a:rPr lang="en-US" noProof="0" dirty="0"/>
              <a:t>. Due diligence) or sources (Inserted via “INSERT tab &gt; Headers &amp; Footers &gt; Footer”)</a:t>
            </a:r>
          </a:p>
        </p:txBody>
      </p:sp>
    </p:spTree>
    <p:extLst>
      <p:ext uri="{BB962C8B-B14F-4D97-AF65-F5344CB8AC3E}">
        <p14:creationId xmlns:p14="http://schemas.microsoft.com/office/powerpoint/2010/main" val="2001430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98198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Our headlines are written in sentence-case should tell a story with impact and are a maximum of two lin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 noProof="0" dirty="0"/>
              <a:t>Draft / Strictly confidential 01/06/2017 13:41 (Used via “INSERT tab &gt; Header &amp; Footer &gt; Fixed Date”)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66712" y="6453336"/>
            <a:ext cx="8525503" cy="36925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Optional area for disclaimer (</a:t>
            </a:r>
            <a:r>
              <a:rPr lang="en-US" noProof="0" dirty="0" err="1"/>
              <a:t>eg</a:t>
            </a:r>
            <a:r>
              <a:rPr lang="en-US" noProof="0" dirty="0"/>
              <a:t>. Due diligence) or sources (Inserted via “INSERT tab &gt; Headers &amp; Footers &gt; Footer”)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68301" y="5976000"/>
            <a:ext cx="11448000" cy="360000"/>
          </a:xfrm>
        </p:spPr>
        <p:txBody>
          <a:bodyPr anchor="b"/>
          <a:lstStyle>
            <a:lvl1pPr>
              <a:defRPr lang="en-US" sz="1200" b="0" u="none" baseline="0" noProof="0" dirty="0" smtClean="0">
                <a:solidFill>
                  <a:schemeClr val="bg2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28600" indent="-228600">
              <a:defRPr lang="en-US" sz="1200" b="0" baseline="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365756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tabLst>
                <a:tab pos="0" algn="l"/>
                <a:tab pos="182880" algn="l"/>
              </a:tabLst>
            </a:pPr>
            <a:r>
              <a:rPr lang="en-US" noProof="0" dirty="0"/>
              <a:t>Footnotes are 12pt bottom aligned just above green line – the first indent level is a numbered list of footnotes – alternatively tab stops can be used</a:t>
            </a:r>
          </a:p>
          <a:p>
            <a:pPr marL="182880" lvl="1" indent="-182880" algn="l" defTabSz="365756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+mn-lt"/>
              <a:buAutoNum type="arabicPeriod"/>
              <a:tabLst>
                <a:tab pos="0" algn="l"/>
                <a:tab pos="182880" algn="l"/>
              </a:tabLst>
            </a:pPr>
            <a:r>
              <a:rPr lang="en-US" noProof="0" dirty="0"/>
              <a:t>First indent level is numbered footnote</a:t>
            </a:r>
          </a:p>
        </p:txBody>
      </p:sp>
    </p:spTree>
    <p:extLst>
      <p:ext uri="{BB962C8B-B14F-4D97-AF65-F5344CB8AC3E}">
        <p14:creationId xmlns:p14="http://schemas.microsoft.com/office/powerpoint/2010/main" val="42089679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849913"/>
              </p:ext>
            </p:extLst>
          </p:nvPr>
        </p:nvGraphicFramePr>
        <p:xfrm>
          <a:off x="1812" y="1442"/>
          <a:ext cx="180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2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2" y="1442"/>
                        <a:ext cx="1809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368301" y="423158"/>
            <a:ext cx="11448000" cy="71984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The agenda page uses same basic slide format and is built with usability in mind: a simple bulleted lis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Draft / Strictly confidential 01/06/2017 13:41 (Used via “INSERT tab &gt; Header &amp; Footer &gt; Fixed Date”)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66712" y="6453336"/>
            <a:ext cx="8525503" cy="36925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Optional area for disclaimer (</a:t>
            </a:r>
            <a:r>
              <a:rPr lang="en-US" noProof="0" dirty="0" err="1"/>
              <a:t>eg</a:t>
            </a:r>
            <a:r>
              <a:rPr lang="en-US" noProof="0" dirty="0"/>
              <a:t>. Due diligence) or sources (Inserted via “INSERT tab &gt; Headers &amp; Footers &gt; Footer”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66712" y="1460501"/>
            <a:ext cx="11448000" cy="43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68301" y="5976000"/>
            <a:ext cx="11448000" cy="360000"/>
          </a:xfrm>
        </p:spPr>
        <p:txBody>
          <a:bodyPr anchor="b"/>
          <a:lstStyle>
            <a:lvl1pPr>
              <a:defRPr lang="en-US" sz="1000" b="0" u="none" baseline="0" noProof="0" dirty="0" smtClean="0">
                <a:solidFill>
                  <a:schemeClr val="bg2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28600" indent="-228600">
              <a:defRPr lang="en-US" sz="1000" b="0" baseline="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365756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tabLst>
                <a:tab pos="0" algn="l"/>
                <a:tab pos="182880" algn="l"/>
              </a:tabLst>
            </a:pPr>
            <a:r>
              <a:rPr lang="en-US" noProof="0" dirty="0"/>
              <a:t>Footnotes are 10pt bottom aligned just above green line – the first indent level is a numbered list of footnotes – alternatively tab stops can be used</a:t>
            </a:r>
          </a:p>
          <a:p>
            <a:pPr marL="182880" lvl="1" indent="-182880" algn="l" defTabSz="365756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+mn-lt"/>
              <a:buAutoNum type="arabicPeriod"/>
              <a:tabLst>
                <a:tab pos="0" algn="l"/>
                <a:tab pos="182880" algn="l"/>
              </a:tabLst>
            </a:pPr>
            <a:r>
              <a:rPr lang="en-US" noProof="0" dirty="0"/>
              <a:t>First indent level is numbered footnote</a:t>
            </a:r>
          </a:p>
        </p:txBody>
      </p:sp>
    </p:spTree>
    <p:extLst>
      <p:ext uri="{BB962C8B-B14F-4D97-AF65-F5344CB8AC3E}">
        <p14:creationId xmlns:p14="http://schemas.microsoft.com/office/powerpoint/2010/main" val="31962487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89286"/>
              </p:ext>
            </p:extLst>
          </p:nvPr>
        </p:nvGraphicFramePr>
        <p:xfrm>
          <a:off x="1812" y="1442"/>
          <a:ext cx="180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2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2" y="1442"/>
                        <a:ext cx="1809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368301" y="423158"/>
            <a:ext cx="11448000" cy="71984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The agenda page uses same basic slide format and is built with usability in mind: a simple bulleted list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Draft / Strictly confidential 01/06/2017 13:41 (Used via “INSERT tab &gt; Header &amp; Footer &gt; Fixed Date”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66713" y="1458725"/>
            <a:ext cx="5580000" cy="43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36301" y="1458725"/>
            <a:ext cx="5580000" cy="4320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66712" y="6453336"/>
            <a:ext cx="8525503" cy="36925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Optional area for disclaimer (</a:t>
            </a:r>
            <a:r>
              <a:rPr lang="en-US" noProof="0" dirty="0" err="1"/>
              <a:t>eg</a:t>
            </a:r>
            <a:r>
              <a:rPr lang="en-US" noProof="0" dirty="0"/>
              <a:t>. Due diligence) or sources (Inserted via “INSERT tab &gt; Headers &amp; Footers &gt; Footer”)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68301" y="5976000"/>
            <a:ext cx="11448000" cy="360000"/>
          </a:xfrm>
        </p:spPr>
        <p:txBody>
          <a:bodyPr anchor="b"/>
          <a:lstStyle>
            <a:lvl1pPr>
              <a:defRPr lang="en-US" sz="1000" b="0" u="none" baseline="0" noProof="0" dirty="0" smtClean="0">
                <a:solidFill>
                  <a:schemeClr val="bg2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28600" indent="-228600">
              <a:defRPr lang="en-US" sz="1000" b="0" baseline="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365756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tabLst>
                <a:tab pos="0" algn="l"/>
                <a:tab pos="182880" algn="l"/>
              </a:tabLst>
            </a:pPr>
            <a:r>
              <a:rPr lang="en-US" noProof="0" dirty="0"/>
              <a:t>Footnotes are 10pt bottom aligned just above green line – the first indent level is a numbered list of footnotes – alternatively tab stops can be used</a:t>
            </a:r>
          </a:p>
          <a:p>
            <a:pPr marL="182880" lvl="1" indent="-182880" algn="l" defTabSz="365756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+mn-lt"/>
              <a:buAutoNum type="arabicPeriod"/>
              <a:tabLst>
                <a:tab pos="0" algn="l"/>
                <a:tab pos="182880" algn="l"/>
              </a:tabLst>
            </a:pPr>
            <a:r>
              <a:rPr lang="en-US" noProof="0" dirty="0"/>
              <a:t>First indent level is numbered footnote</a:t>
            </a:r>
          </a:p>
        </p:txBody>
      </p:sp>
    </p:spTree>
    <p:extLst>
      <p:ext uri="{BB962C8B-B14F-4D97-AF65-F5344CB8AC3E}">
        <p14:creationId xmlns:p14="http://schemas.microsoft.com/office/powerpoint/2010/main" val="6449613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1383802"/>
              </p:ext>
            </p:extLst>
          </p:nvPr>
        </p:nvGraphicFramePr>
        <p:xfrm>
          <a:off x="1921" y="1441"/>
          <a:ext cx="192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1" y="1441"/>
                        <a:ext cx="192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lix_green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2000" y="2994793"/>
            <a:ext cx="2988000" cy="868414"/>
          </a:xfrm>
          <a:prstGeom prst="rect">
            <a:avLst/>
          </a:prstGeom>
        </p:spPr>
      </p:pic>
      <p:sp>
        <p:nvSpPr>
          <p:cNvPr id="10" name="Disclaimer Placeholder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1" y="5843871"/>
            <a:ext cx="5729817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050" baseline="0" dirty="0" smtClean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Optional disclaimers go here</a:t>
            </a:r>
          </a:p>
        </p:txBody>
      </p:sp>
      <p:sp>
        <p:nvSpPr>
          <p:cNvPr id="14" name="Footer"/>
          <p:cNvSpPr txBox="1">
            <a:spLocks/>
          </p:cNvSpPr>
          <p:nvPr userDrawn="1"/>
        </p:nvSpPr>
        <p:spPr>
          <a:xfrm>
            <a:off x="4434139" y="6500823"/>
            <a:ext cx="3323724" cy="12260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 eaLnBrk="0" hangingPunct="0"/>
            <a:r>
              <a:rPr lang="en-US" sz="8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2017 </a:t>
            </a:r>
            <a:r>
              <a:rPr lang="en-US" sz="800" noProof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ixPartners</a:t>
            </a:r>
            <a:r>
              <a:rPr lang="en-US" sz="8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LLP.</a:t>
            </a:r>
            <a:endParaRPr lang="en-US" sz="800" spc="-2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51061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7939635"/>
              </p:ext>
            </p:extLst>
          </p:nvPr>
        </p:nvGraphicFramePr>
        <p:xfrm>
          <a:off x="2116" y="1592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99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6" y="1592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 descr="AP_logo_v1.pn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9238" y="6539064"/>
            <a:ext cx="1260000" cy="184800"/>
          </a:xfrm>
          <a:prstGeom prst="rect">
            <a:avLst/>
          </a:prstGeom>
        </p:spPr>
      </p:pic>
      <p:sp>
        <p:nvSpPr>
          <p:cNvPr id="3" name="Main Content"/>
          <p:cNvSpPr>
            <a:spLocks noGrp="1"/>
          </p:cNvSpPr>
          <p:nvPr>
            <p:ph type="body" idx="1"/>
          </p:nvPr>
        </p:nvSpPr>
        <p:spPr>
          <a:xfrm>
            <a:off x="368301" y="1458199"/>
            <a:ext cx="11448000" cy="486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/>
              <a:t>First level of any text box is standard text – our default type is Verdana Regular in 20pt.</a:t>
            </a:r>
          </a:p>
          <a:p>
            <a:pPr lvl="0"/>
            <a:r>
              <a:rPr lang="en-US" noProof="0" dirty="0"/>
              <a:t>Paragraph spacing is set up to advance second paragraph into content area. If importing an element in list style from an old deck – select all text in content box and hit &lt;Tab&gt; once or click the “Increase List Level” button.</a:t>
            </a:r>
          </a:p>
          <a:p>
            <a:pPr lvl="1"/>
            <a:r>
              <a:rPr lang="en-US" noProof="0" dirty="0"/>
              <a:t>First level bullets (second indentation/list level)</a:t>
            </a:r>
          </a:p>
          <a:p>
            <a:pPr lvl="2"/>
            <a:r>
              <a:rPr lang="en-US" noProof="0" dirty="0"/>
              <a:t>Second level bullets (third indentation/list level)</a:t>
            </a:r>
          </a:p>
          <a:p>
            <a:pPr lvl="3"/>
            <a:r>
              <a:rPr lang="en-US" noProof="0" dirty="0"/>
              <a:t>Third level bullets (fourth indentation/list level)</a:t>
            </a:r>
          </a:p>
          <a:p>
            <a:pPr lvl="4"/>
            <a:r>
              <a:rPr lang="en-US" noProof="0" dirty="0"/>
              <a:t>Fourth level bullets (fifth indentation/list level)</a:t>
            </a:r>
          </a:p>
          <a:p>
            <a:pPr lvl="5"/>
            <a:r>
              <a:rPr lang="en-US" noProof="0" dirty="0"/>
              <a:t>Annotations or footnotes (sixth indentation/list level)</a:t>
            </a:r>
          </a:p>
          <a:p>
            <a:pPr lvl="6"/>
            <a:r>
              <a:rPr lang="en-US" noProof="0" dirty="0"/>
              <a:t>Bold text (seventh indentation/list level)</a:t>
            </a:r>
          </a:p>
          <a:p>
            <a:pPr lvl="7"/>
            <a:r>
              <a:rPr lang="en-US" noProof="0" dirty="0"/>
              <a:t>Quotes in 24pt (eighth indentation/list level)</a:t>
            </a:r>
          </a:p>
          <a:p>
            <a:pPr lvl="8"/>
            <a:r>
              <a:rPr lang="en-US" noProof="0" dirty="0"/>
              <a:t>All-caps for authors (ninth indentation/list level)</a:t>
            </a:r>
          </a:p>
        </p:txBody>
      </p:sp>
      <p:sp>
        <p:nvSpPr>
          <p:cNvPr id="1026" name="Slide Title Placeholder"/>
          <p:cNvSpPr>
            <a:spLocks noGrp="1" noChangeArrowheads="1"/>
          </p:cNvSpPr>
          <p:nvPr>
            <p:ph type="title"/>
          </p:nvPr>
        </p:nvSpPr>
        <p:spPr bwMode="auto">
          <a:xfrm>
            <a:off x="368301" y="423158"/>
            <a:ext cx="11448000" cy="719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182880" numCol="1" anchor="t" anchorCtr="0" compatLnSpc="1">
            <a:prstTxWarp prst="textNoShape">
              <a:avLst/>
            </a:prstTxWarp>
            <a:noAutofit/>
          </a:bodyPr>
          <a:lstStyle/>
          <a:p>
            <a:pPr lvl="0" defTabSz="359955"/>
            <a:r>
              <a:rPr lang="en-US" noProof="0" dirty="0"/>
              <a:t>Our headlines are written in sentence-case should tell a story with impact and are a maximum of two lines</a:t>
            </a:r>
          </a:p>
        </p:txBody>
      </p:sp>
      <p:sp>
        <p:nvSpPr>
          <p:cNvPr id="12" name="Bottom Line"/>
          <p:cNvSpPr>
            <a:spLocks noMove="1" noResize="1" noChangeShapeType="1"/>
          </p:cNvSpPr>
          <p:nvPr userDrawn="1"/>
        </p:nvSpPr>
        <p:spPr bwMode="gray">
          <a:xfrm>
            <a:off x="368300" y="6406855"/>
            <a:ext cx="11457517" cy="0"/>
          </a:xfrm>
          <a:prstGeom prst="line">
            <a:avLst/>
          </a:prstGeom>
          <a:noFill/>
          <a:ln w="6350" cap="rnd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8188" tIns="39095" rIns="78188" bIns="39095" anchor="ctr"/>
          <a:lstStyle/>
          <a:p>
            <a:pPr eaLnBrk="0" hangingPunct="0">
              <a:defRPr/>
            </a:pPr>
            <a:endParaRPr lang="en-US" sz="684" dirty="0">
              <a:ln w="6350" cmpd="sng">
                <a:solidFill>
                  <a:schemeClr val="tx1"/>
                </a:solidFill>
              </a:ln>
              <a:latin typeface="+mn-lt"/>
              <a:ea typeface="+mn-ea"/>
              <a:cs typeface="+mn-cs"/>
            </a:endParaRPr>
          </a:p>
        </p:txBody>
      </p:sp>
      <p:sp>
        <p:nvSpPr>
          <p:cNvPr id="9" name="Slide Number"/>
          <p:cNvSpPr txBox="1"/>
          <p:nvPr/>
        </p:nvSpPr>
        <p:spPr>
          <a:xfrm>
            <a:off x="11606206" y="6544577"/>
            <a:ext cx="219612" cy="153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algn="r" eaLnBrk="0" hangingPunct="0">
              <a:defRPr sz="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r"/>
            <a:fld id="{87F6F332-D11C-4923-9517-2AAE86E1C2C5}" type="slidenum">
              <a:rPr lang="en-US" sz="1000" noProof="0" smtClean="0">
                <a:solidFill>
                  <a:schemeClr val="bg2"/>
                </a:solidFill>
              </a:rPr>
              <a:pPr lvl="0" algn="r"/>
              <a:t>‹#›</a:t>
            </a:fld>
            <a:endParaRPr lang="en-US" sz="1000" noProof="0" dirty="0">
              <a:solidFill>
                <a:schemeClr val="bg2"/>
              </a:solidFill>
            </a:endParaRPr>
          </a:p>
        </p:txBody>
      </p:sp>
      <p:sp>
        <p:nvSpPr>
          <p:cNvPr id="27" name="Slide Master Version"/>
          <p:cNvSpPr txBox="1">
            <a:spLocks noMove="1" noResize="1"/>
          </p:cNvSpPr>
          <p:nvPr userDrawn="1"/>
        </p:nvSpPr>
        <p:spPr>
          <a:xfrm>
            <a:off x="6096001" y="6882147"/>
            <a:ext cx="5761567" cy="1938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 algn="r"/>
            <a:r>
              <a:rPr lang="en-US" sz="600" dirty="0">
                <a:solidFill>
                  <a:schemeClr val="tx1"/>
                </a:solidFill>
              </a:rPr>
              <a:t>ALIXPARTNERS</a:t>
            </a:r>
            <a:r>
              <a:rPr lang="en-US" sz="600" baseline="0" dirty="0">
                <a:solidFill>
                  <a:schemeClr val="tx1"/>
                </a:solidFill>
              </a:rPr>
              <a:t> SLIDE MASTER V.2017.03.30.00.01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13" name="Top Banner Placeholder"/>
          <p:cNvSpPr>
            <a:spLocks noGrp="1" noRot="1" noMove="1" noResize="1"/>
          </p:cNvSpPr>
          <p:nvPr>
            <p:ph type="dt" sz="half" idx="2"/>
          </p:nvPr>
        </p:nvSpPr>
        <p:spPr bwMode="gray">
          <a:xfrm>
            <a:off x="1" y="1"/>
            <a:ext cx="12187767" cy="199557"/>
          </a:xfrm>
          <a:prstGeom prst="rect">
            <a:avLst/>
          </a:prstGeom>
          <a:solidFill>
            <a:srgbClr val="FF3130"/>
          </a:solidFill>
        </p:spPr>
        <p:txBody>
          <a:bodyPr vert="horz" lIns="274320" tIns="45720" rIns="274320" bIns="45720" rtlCol="0" anchor="ctr"/>
          <a:lstStyle>
            <a:lvl1pPr>
              <a:defRPr lang="en-US" sz="1000" smtClean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ft / Strictly confidential 01/06/2017 13:41 (Used via “INSERT tab &gt; Header &amp; Footer &gt; Fixed Date”)</a:t>
            </a:r>
          </a:p>
        </p:txBody>
      </p:sp>
      <p:grpSp>
        <p:nvGrpSpPr>
          <p:cNvPr id="28" name="AP_Annotations"/>
          <p:cNvGrpSpPr>
            <a:grpSpLocks noUngrp="1" noRot="1" noChangeAspect="1" noResize="1"/>
          </p:cNvGrpSpPr>
          <p:nvPr userDrawn="1"/>
        </p:nvGrpSpPr>
        <p:grpSpPr>
          <a:xfrm>
            <a:off x="-1790700" y="-355584"/>
            <a:ext cx="9677400" cy="7106019"/>
            <a:chOff x="-1343025" y="-355584"/>
            <a:chExt cx="7258050" cy="7106019"/>
          </a:xfrm>
        </p:grpSpPr>
        <p:sp>
          <p:nvSpPr>
            <p:cNvPr id="29" name="Annotation 09"/>
            <p:cNvSpPr txBox="1">
              <a:spLocks noSelect="1" noMove="1"/>
            </p:cNvSpPr>
            <p:nvPr userDrawn="1"/>
          </p:nvSpPr>
          <p:spPr>
            <a:xfrm>
              <a:off x="-1343025" y="1143000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CB335"/>
                  </a:solidFill>
                </a:rPr>
                <a:t>GREEN</a:t>
              </a:r>
              <a:r>
                <a:rPr lang="en-US" sz="600" baseline="0" dirty="0">
                  <a:solidFill>
                    <a:srgbClr val="5CB335"/>
                  </a:solidFill>
                </a:rPr>
                <a:t> GUIDES DELINEATE MAIN CONTENT AREA</a:t>
              </a:r>
            </a:p>
          </p:txBody>
        </p:sp>
        <p:sp>
          <p:nvSpPr>
            <p:cNvPr id="30" name="Annotation 08"/>
            <p:cNvSpPr txBox="1">
              <a:spLocks noSelect="1" noMove="1"/>
            </p:cNvSpPr>
            <p:nvPr userDrawn="1"/>
          </p:nvSpPr>
          <p:spPr>
            <a:xfrm>
              <a:off x="-1343025" y="3438525"/>
              <a:ext cx="1343025" cy="193899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31" name="Annotation 07"/>
            <p:cNvSpPr txBox="1">
              <a:spLocks noSelect="1" noMove="1"/>
            </p:cNvSpPr>
            <p:nvPr userDrawn="1"/>
          </p:nvSpPr>
          <p:spPr>
            <a:xfrm>
              <a:off x="-1343025" y="204788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95959"/>
                  </a:solidFill>
                </a:rPr>
                <a:t>TOP</a:t>
              </a:r>
              <a:r>
                <a:rPr lang="en-US" sz="600" baseline="0" dirty="0">
                  <a:solidFill>
                    <a:srgbClr val="595959"/>
                  </a:solidFill>
                </a:rPr>
                <a:t> AND BOTTOM DELIMITER</a:t>
              </a:r>
              <a:br>
                <a:rPr lang="en-US" sz="600" baseline="0" dirty="0">
                  <a:solidFill>
                    <a:srgbClr val="595959"/>
                  </a:solidFill>
                </a:rPr>
              </a:br>
              <a:r>
                <a:rPr lang="en-US" sz="600" baseline="0" dirty="0">
                  <a:solidFill>
                    <a:srgbClr val="595959"/>
                  </a:solidFill>
                </a:rPr>
                <a:t>FOR SECTION HEADERS</a:t>
              </a:r>
              <a:endParaRPr lang="en-US" sz="600" dirty="0">
                <a:solidFill>
                  <a:srgbClr val="595959"/>
                </a:solidFill>
              </a:endParaRPr>
            </a:p>
          </p:txBody>
        </p:sp>
        <p:sp>
          <p:nvSpPr>
            <p:cNvPr id="32" name="Annotation 06"/>
            <p:cNvSpPr txBox="1">
              <a:spLocks noSelect="1" noMove="1"/>
            </p:cNvSpPr>
            <p:nvPr userDrawn="1"/>
          </p:nvSpPr>
          <p:spPr>
            <a:xfrm>
              <a:off x="-1343025" y="6454969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95959"/>
                  </a:solidFill>
                </a:rPr>
                <a:t>MIDDLE-ALIGNED </a:t>
              </a:r>
              <a:r>
                <a:rPr lang="en-US" sz="600" baseline="0" dirty="0">
                  <a:solidFill>
                    <a:srgbClr val="595959"/>
                  </a:solidFill>
                </a:rPr>
                <a:t>DISCLAIMER OR SOURCE BOX SITS BELOW THIS LINE</a:t>
              </a:r>
              <a:endParaRPr lang="en-US" sz="600" dirty="0">
                <a:solidFill>
                  <a:srgbClr val="595959"/>
                </a:solidFill>
              </a:endParaRPr>
            </a:p>
          </p:txBody>
        </p:sp>
        <p:sp>
          <p:nvSpPr>
            <p:cNvPr id="33" name="Annotation 05"/>
            <p:cNvSpPr txBox="1">
              <a:spLocks noSelect="1" noMove="1"/>
            </p:cNvSpPr>
            <p:nvPr userDrawn="1"/>
          </p:nvSpPr>
          <p:spPr>
            <a:xfrm>
              <a:off x="-1343025" y="512797"/>
              <a:ext cx="1343025" cy="397032"/>
            </a:xfrm>
            <a:prstGeom prst="rect">
              <a:avLst/>
            </a:prstGeom>
          </p:spPr>
          <p:txBody>
            <a:bodyPr wrap="square" rtlCol="0" anchor="b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95959"/>
                  </a:solidFill>
                </a:rPr>
                <a:t>2ND ROW OF </a:t>
              </a:r>
              <a:br>
                <a:rPr lang="en-US" sz="600" baseline="0" dirty="0">
                  <a:solidFill>
                    <a:srgbClr val="595959"/>
                  </a:solidFill>
                </a:rPr>
              </a:br>
              <a:r>
                <a:rPr lang="en-US" sz="600" baseline="0" dirty="0">
                  <a:solidFill>
                    <a:srgbClr val="595959"/>
                  </a:solidFill>
                </a:rPr>
                <a:t>TOP-ALIGNED HEADLINE</a:t>
              </a:r>
              <a:br>
                <a:rPr lang="en-US" sz="600" baseline="0" dirty="0">
                  <a:solidFill>
                    <a:srgbClr val="595959"/>
                  </a:solidFill>
                </a:rPr>
              </a:br>
              <a:r>
                <a:rPr lang="en-US" sz="600" baseline="0" dirty="0">
                  <a:solidFill>
                    <a:srgbClr val="595959"/>
                  </a:solidFill>
                </a:rPr>
                <a:t>SITS ON TOP OF THIS LINE</a:t>
              </a:r>
              <a:endParaRPr lang="en-US" sz="600" dirty="0">
                <a:solidFill>
                  <a:srgbClr val="595959"/>
                </a:solidFill>
              </a:endParaRPr>
            </a:p>
          </p:txBody>
        </p:sp>
        <p:sp>
          <p:nvSpPr>
            <p:cNvPr id="34" name="Annotation 04"/>
            <p:cNvSpPr txBox="1">
              <a:spLocks noSelect="1" noMove="1"/>
            </p:cNvSpPr>
            <p:nvPr userDrawn="1"/>
          </p:nvSpPr>
          <p:spPr>
            <a:xfrm>
              <a:off x="4572000" y="-304800"/>
              <a:ext cx="1343025" cy="193899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FF910F"/>
                  </a:solidFill>
                </a:rPr>
                <a:t>SLIDE</a:t>
              </a:r>
              <a:r>
                <a:rPr lang="en-US" sz="600" baseline="0" dirty="0">
                  <a:solidFill>
                    <a:srgbClr val="FF910F"/>
                  </a:solidFill>
                </a:rPr>
                <a:t> CENTER LINE</a:t>
              </a:r>
              <a:endParaRPr lang="en-US" sz="600" dirty="0">
                <a:solidFill>
                  <a:srgbClr val="FF910F"/>
                </a:solidFill>
              </a:endParaRPr>
            </a:p>
          </p:txBody>
        </p:sp>
        <p:sp>
          <p:nvSpPr>
            <p:cNvPr id="35" name="Annotation 03"/>
            <p:cNvSpPr txBox="1">
              <a:spLocks noSelect="1" noMove="1"/>
            </p:cNvSpPr>
            <p:nvPr userDrawn="1"/>
          </p:nvSpPr>
          <p:spPr>
            <a:xfrm>
              <a:off x="2508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baseline="0" dirty="0">
                  <a:solidFill>
                    <a:srgbClr val="5CB335"/>
                  </a:solidFill>
                </a:rPr>
                <a:t>GREEN GUIDES DELINEATE MAIN CONTENT AREA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  <p:sp>
          <p:nvSpPr>
            <p:cNvPr id="36" name="Annotation 02"/>
            <p:cNvSpPr txBox="1">
              <a:spLocks noSelect="1" noMove="1"/>
            </p:cNvSpPr>
            <p:nvPr userDrawn="1"/>
          </p:nvSpPr>
          <p:spPr>
            <a:xfrm>
              <a:off x="-1343025" y="6162451"/>
              <a:ext cx="1343025" cy="193899"/>
            </a:xfrm>
            <a:prstGeom prst="rect">
              <a:avLst/>
            </a:prstGeom>
          </p:spPr>
          <p:txBody>
            <a:bodyPr wrap="square" rtlCol="0" anchor="b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CB335"/>
                  </a:solidFill>
                </a:rPr>
                <a:t>BOTTOM-ALIGNED </a:t>
              </a:r>
              <a:r>
                <a:rPr lang="en-US" sz="600" baseline="0" dirty="0">
                  <a:solidFill>
                    <a:srgbClr val="5CB335"/>
                  </a:solidFill>
                </a:rPr>
                <a:t>FOOTNOTES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  <p:sp>
          <p:nvSpPr>
            <p:cNvPr id="37" name="Annotation 01"/>
            <p:cNvSpPr txBox="1">
              <a:spLocks noSelect="1" noMove="1"/>
            </p:cNvSpPr>
            <p:nvPr userDrawn="1"/>
          </p:nvSpPr>
          <p:spPr>
            <a:xfrm>
              <a:off x="-1343025" y="-355584"/>
              <a:ext cx="1343025" cy="29546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FF3130"/>
                  </a:solidFill>
                </a:rPr>
                <a:t>ENABLE </a:t>
              </a:r>
              <a:r>
                <a:rPr lang="en-US" sz="600" baseline="0" dirty="0">
                  <a:solidFill>
                    <a:srgbClr val="FF3130"/>
                  </a:solidFill>
                </a:rPr>
                <a:t>GUIDES UNDER</a:t>
              </a:r>
              <a:br>
                <a:rPr lang="en-US" sz="600" baseline="0" dirty="0">
                  <a:solidFill>
                    <a:srgbClr val="FF3130"/>
                  </a:solidFill>
                </a:rPr>
              </a:br>
              <a:r>
                <a:rPr lang="en-US" sz="600" baseline="0" dirty="0">
                  <a:solidFill>
                    <a:srgbClr val="FF3130"/>
                  </a:solidFill>
                </a:rPr>
                <a:t>VIEW – SHOW – GUIDES</a:t>
              </a:r>
            </a:p>
          </p:txBody>
        </p:sp>
        <p:sp>
          <p:nvSpPr>
            <p:cNvPr id="38" name="Annotation 07"/>
            <p:cNvSpPr txBox="1">
              <a:spLocks noSelect="1" noMove="1"/>
            </p:cNvSpPr>
            <p:nvPr userDrawn="1"/>
          </p:nvSpPr>
          <p:spPr>
            <a:xfrm>
              <a:off x="-1343025" y="1504996"/>
              <a:ext cx="1343025" cy="652486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indent="0"/>
              <a:r>
                <a:rPr lang="en-US" sz="600" dirty="0">
                  <a:solidFill>
                    <a:srgbClr val="5CB335"/>
                  </a:solidFill>
                </a:rPr>
                <a:t>CONTENT</a:t>
              </a:r>
              <a:r>
                <a:rPr lang="en-US" sz="600" baseline="0" dirty="0">
                  <a:solidFill>
                    <a:srgbClr val="5CB335"/>
                  </a:solidFill>
                </a:rPr>
                <a:t> BELOW THIS LINE IF SUB-HEADER IS PRESENT</a:t>
              </a:r>
            </a:p>
            <a:p>
              <a:pPr marL="0" indent="0"/>
              <a:r>
                <a:rPr lang="en-US" sz="600" baseline="0" dirty="0">
                  <a:solidFill>
                    <a:srgbClr val="5CB335"/>
                  </a:solidFill>
                </a:rPr>
                <a:t>SUB-HEADER TOP ALIGNED WITH UPPER GREEN GUIDE</a:t>
              </a:r>
              <a:endParaRPr lang="en-US" sz="600" dirty="0">
                <a:solidFill>
                  <a:srgbClr val="5CB335"/>
                </a:solidFill>
              </a:endParaRPr>
            </a:p>
          </p:txBody>
        </p:sp>
      </p:grpSp>
      <p:sp>
        <p:nvSpPr>
          <p:cNvPr id="40" name="Footer Placeholder"/>
          <p:cNvSpPr>
            <a:spLocks noGrp="1" noRot="1" noMove="1" noResize="1"/>
          </p:cNvSpPr>
          <p:nvPr>
            <p:ph type="ftr" sz="quarter" idx="3"/>
          </p:nvPr>
        </p:nvSpPr>
        <p:spPr>
          <a:xfrm>
            <a:off x="368301" y="6446839"/>
            <a:ext cx="8525503" cy="36925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1000" smtClean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Optional area for disclaimer (</a:t>
            </a:r>
            <a:r>
              <a:rPr lang="en-US" dirty="0" err="1"/>
              <a:t>eg</a:t>
            </a:r>
            <a:r>
              <a:rPr lang="en-US" dirty="0"/>
              <a:t>. Due diligence) or sources (Inserted via “INSERT tab &gt; Headers &amp; Footers &gt; Footer”)</a:t>
            </a:r>
          </a:p>
        </p:txBody>
      </p:sp>
    </p:spTree>
    <p:extLst>
      <p:ext uri="{BB962C8B-B14F-4D97-AF65-F5344CB8AC3E}">
        <p14:creationId xmlns:p14="http://schemas.microsoft.com/office/powerpoint/2010/main" val="2182168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8" r:id="rId3"/>
    <p:sldLayoutId id="2147484263" r:id="rId4"/>
    <p:sldLayoutId id="2147484264" r:id="rId5"/>
    <p:sldLayoutId id="2147484262" r:id="rId6"/>
  </p:sldLayoutIdLst>
  <p:hf sldNum="0" hdr="0" ftr="0" dt="0"/>
  <p:txStyles>
    <p:titleStyle>
      <a:lvl1pPr algn="l" defTabSz="365756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Tx/>
        <a:buFontTx/>
        <a:buNone/>
        <a:defRPr lang="en-US" sz="2000" b="1" baseline="0" dirty="0">
          <a:solidFill>
            <a:schemeClr val="tx1"/>
          </a:solidFill>
          <a:latin typeface="+mj-lt"/>
          <a:ea typeface="+mj-ea"/>
          <a:cs typeface="+mj-cs"/>
        </a:defRPr>
      </a:lvl1pPr>
      <a:lvl2pPr marL="18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b="0" baseline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 b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 b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 b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/>
        <a:buNone/>
        <a:defRPr sz="900" b="0" baseline="0">
          <a:solidFill>
            <a:schemeClr val="bg2"/>
          </a:solidFill>
          <a:latin typeface="+mn-lt"/>
          <a:ea typeface="+mn-ea"/>
          <a:cs typeface="+mn-cs"/>
        </a:defRPr>
      </a:lvl6pPr>
      <a:lvl7pPr eaLnBrk="1" hangingPunct="1">
        <a:lnSpc>
          <a:spcPct val="110000"/>
        </a:lnSpc>
        <a:spcBef>
          <a:spcPct val="0"/>
        </a:spcBef>
        <a:spcAft>
          <a:spcPts val="600"/>
        </a:spcAft>
        <a:defRPr sz="1000" b="1">
          <a:solidFill>
            <a:schemeClr val="tx1"/>
          </a:solidFill>
          <a:latin typeface="+mn-lt"/>
        </a:defRPr>
      </a:lvl7pPr>
      <a:lvl8pPr eaLnBrk="1" hangingPunct="1">
        <a:lnSpc>
          <a:spcPct val="110000"/>
        </a:lnSpc>
        <a:spcBef>
          <a:spcPct val="0"/>
        </a:spcBef>
        <a:spcAft>
          <a:spcPts val="600"/>
        </a:spcAft>
        <a:defRPr sz="1600" i="1" baseline="0">
          <a:solidFill>
            <a:schemeClr val="bg2"/>
          </a:solidFill>
          <a:latin typeface="+mn-lt"/>
        </a:defRPr>
      </a:lvl8pPr>
      <a:lvl9pPr eaLnBrk="1" hangingPunct="1">
        <a:lnSpc>
          <a:spcPct val="110000"/>
        </a:lnSpc>
        <a:spcBef>
          <a:spcPct val="0"/>
        </a:spcBef>
        <a:spcAft>
          <a:spcPts val="600"/>
        </a:spcAft>
        <a:defRPr sz="1000" cap="all" baseline="0">
          <a:solidFill>
            <a:schemeClr val="bg2"/>
          </a:solidFill>
          <a:latin typeface="+mn-lt"/>
        </a:defRPr>
      </a:lvl9pPr>
    </p:titleStyle>
    <p:bodyStyle>
      <a:lvl1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1200"/>
        </a:spcAft>
        <a:buClrTx/>
        <a:buFontTx/>
        <a:buNone/>
        <a:defRPr sz="2000" b="0" u="none" baseline="0">
          <a:solidFill>
            <a:schemeClr val="tx1"/>
          </a:solidFill>
          <a:uFill>
            <a:solidFill>
              <a:schemeClr val="accent5"/>
            </a:solidFill>
          </a:uFill>
          <a:latin typeface="+mn-lt"/>
          <a:ea typeface="+mn-ea"/>
          <a:cs typeface="+mn-cs"/>
        </a:defRPr>
      </a:lvl1pPr>
      <a:lvl2pPr marL="266700" indent="-266700" algn="l" defTabSz="365756" rtl="0" eaLnBrk="1" fontAlgn="base" hangingPunct="1">
        <a:lnSpc>
          <a:spcPct val="110000"/>
        </a:lnSpc>
        <a:spcBef>
          <a:spcPts val="0"/>
        </a:spcBef>
        <a:spcAft>
          <a:spcPts val="900"/>
        </a:spcAft>
        <a:buClrTx/>
        <a:buFont typeface="Arial" panose="020B0604020202020204" pitchFamily="34" charset="0"/>
        <a:buChar char="•"/>
        <a:defRPr sz="2000" b="0" baseline="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628650" rtl="0" eaLnBrk="1" fontAlgn="base" hangingPunct="1">
        <a:lnSpc>
          <a:spcPct val="110000"/>
        </a:lnSpc>
        <a:spcBef>
          <a:spcPts val="0"/>
        </a:spcBef>
        <a:spcAft>
          <a:spcPts val="900"/>
        </a:spcAft>
        <a:buClrTx/>
        <a:buFont typeface="Arial" panose="020F0502020204030204" pitchFamily="34" charset="0"/>
        <a:buChar char="−"/>
        <a:tabLst>
          <a:tab pos="542925" algn="l"/>
        </a:tabLst>
        <a:defRPr sz="2000" b="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365756" rtl="0" eaLnBrk="1" fontAlgn="base" hangingPunct="1">
        <a:lnSpc>
          <a:spcPct val="110000"/>
        </a:lnSpc>
        <a:spcBef>
          <a:spcPts val="0"/>
        </a:spcBef>
        <a:spcAft>
          <a:spcPts val="900"/>
        </a:spcAft>
        <a:buClrTx/>
        <a:buFont typeface="Arial" panose="020B0604020202020204" pitchFamily="34" charset="0"/>
        <a:buChar char="•"/>
        <a:defRPr sz="2000" b="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538163" rtl="0" eaLnBrk="1" fontAlgn="base" hangingPunct="1">
        <a:lnSpc>
          <a:spcPct val="110000"/>
        </a:lnSpc>
        <a:spcBef>
          <a:spcPts val="0"/>
        </a:spcBef>
        <a:spcAft>
          <a:spcPts val="900"/>
        </a:spcAft>
        <a:buClrTx/>
        <a:buFont typeface="Arial" panose="020F0502020204030204" pitchFamily="34" charset="0"/>
        <a:buChar char="−"/>
        <a:defRPr sz="2000" b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/>
        <a:buNone/>
        <a:defRPr sz="1000" b="0" baseline="0">
          <a:solidFill>
            <a:schemeClr val="bg2"/>
          </a:solidFill>
          <a:latin typeface="+mn-lt"/>
          <a:ea typeface="+mn-ea"/>
          <a:cs typeface="+mn-cs"/>
        </a:defRPr>
      </a:lvl6pPr>
      <a:lvl7pPr eaLnBrk="1" hangingPunct="1">
        <a:lnSpc>
          <a:spcPct val="110000"/>
        </a:lnSpc>
        <a:spcBef>
          <a:spcPct val="0"/>
        </a:spcBef>
        <a:spcAft>
          <a:spcPts val="600"/>
        </a:spcAft>
        <a:defRPr sz="2000" b="1">
          <a:solidFill>
            <a:schemeClr val="tx1"/>
          </a:solidFill>
          <a:latin typeface="+mn-lt"/>
        </a:defRPr>
      </a:lvl7pPr>
      <a:lvl8pPr eaLnBrk="1" hangingPunct="1">
        <a:lnSpc>
          <a:spcPct val="110000"/>
        </a:lnSpc>
        <a:spcBef>
          <a:spcPct val="0"/>
        </a:spcBef>
        <a:spcAft>
          <a:spcPts val="600"/>
        </a:spcAft>
        <a:defRPr sz="2400" i="1" baseline="0">
          <a:solidFill>
            <a:schemeClr val="bg2"/>
          </a:solidFill>
          <a:latin typeface="+mn-lt"/>
        </a:defRPr>
      </a:lvl8pPr>
      <a:lvl9pPr eaLnBrk="1" hangingPunct="1">
        <a:lnSpc>
          <a:spcPct val="110000"/>
        </a:lnSpc>
        <a:spcBef>
          <a:spcPct val="0"/>
        </a:spcBef>
        <a:spcAft>
          <a:spcPts val="600"/>
        </a:spcAft>
        <a:defRPr sz="1200" cap="all" baseline="0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Tx/>
        <a:buNone/>
        <a:defRPr sz="1000">
          <a:solidFill>
            <a:schemeClr val="tx1"/>
          </a:solidFill>
          <a:uFill>
            <a:solidFill>
              <a:schemeClr val="accent5"/>
            </a:solidFill>
          </a:uFill>
          <a:latin typeface="+mn-lt"/>
          <a:ea typeface="+mn-ea"/>
          <a:cs typeface="+mn-cs"/>
        </a:defRPr>
      </a:lvl1pPr>
      <a:lvl2pPr marL="18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10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Tx/>
        <a:buNone/>
        <a:defRPr sz="900" b="0">
          <a:solidFill>
            <a:schemeClr val="tx1"/>
          </a:solidFill>
          <a:latin typeface="+mn-lt"/>
          <a:ea typeface="+mn-ea"/>
          <a:cs typeface="+mn-cs"/>
        </a:defRPr>
      </a:lvl4pPr>
      <a:lvl5pPr marL="18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•"/>
        <a:defRPr sz="900" b="0" baseline="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365756" rtl="0" eaLnBrk="1" fontAlgn="base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F0502020204030204" pitchFamily="34" charset="0"/>
        <a:buChar char="−"/>
        <a:defRPr sz="9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365756" rtl="0" eaLnBrk="1" fontAlgn="base" hangingPunct="1">
        <a:lnSpc>
          <a:spcPct val="110000"/>
        </a:lnSpc>
        <a:spcBef>
          <a:spcPct val="0"/>
        </a:spcBef>
        <a:spcAft>
          <a:spcPts val="600"/>
        </a:spcAft>
        <a:defRPr sz="1200">
          <a:solidFill>
            <a:schemeClr val="tx1"/>
          </a:solidFill>
          <a:latin typeface="+mn-lt"/>
        </a:defRPr>
      </a:lvl7pPr>
      <a:lvl8pPr marL="180000" indent="-180000" algn="l" defTabSz="365756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ClrTx/>
        <a:buFont typeface="Arial" panose="020F0502020204030204" pitchFamily="34" charset="0"/>
        <a:buChar char="•"/>
        <a:defRPr sz="1200">
          <a:solidFill>
            <a:schemeClr val="tx1"/>
          </a:solidFill>
          <a:latin typeface="+mn-lt"/>
        </a:defRPr>
      </a:lvl8pPr>
      <a:lvl9pPr marL="360000" indent="-180000" algn="l" defTabSz="365756" rtl="0" eaLnBrk="1" fontAlgn="base" hangingPunct="1">
        <a:lnSpc>
          <a:spcPct val="110000"/>
        </a:lnSpc>
        <a:spcBef>
          <a:spcPct val="0"/>
        </a:spcBef>
        <a:spcAft>
          <a:spcPts val="600"/>
        </a:spcAft>
        <a:buClrTx/>
        <a:buFont typeface="Arial" panose="020F0502020204030204" pitchFamily="34" charset="0"/>
        <a:buChar char="−"/>
        <a:defRPr sz="1200">
          <a:solidFill>
            <a:schemeClr val="bg2"/>
          </a:solidFill>
          <a:latin typeface="+mn-lt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31" userDrawn="1">
          <p15:clr>
            <a:srgbClr val="5CB335"/>
          </p15:clr>
        </p15:guide>
        <p15:guide id="3" pos="7449" userDrawn="1">
          <p15:clr>
            <a:srgbClr val="5CB335"/>
          </p15:clr>
        </p15:guide>
        <p15:guide id="5" orient="horz" pos="917" userDrawn="1">
          <p15:clr>
            <a:srgbClr val="5CB335"/>
          </p15:clr>
        </p15:guide>
        <p15:guide id="6" orient="horz" pos="4004" userDrawn="1">
          <p15:clr>
            <a:srgbClr val="5CB335"/>
          </p15:clr>
        </p15:guide>
        <p15:guide id="7" orient="horz" pos="720" userDrawn="1">
          <p15:clr>
            <a:srgbClr val="A4A3A4"/>
          </p15:clr>
        </p15:guide>
        <p15:guide id="8" orient="horz" pos="4061" userDrawn="1">
          <p15:clr>
            <a:srgbClr val="A4A3A4"/>
          </p15:clr>
        </p15:guide>
        <p15:guide id="9" orient="horz" pos="129" userDrawn="1">
          <p15:clr>
            <a:srgbClr val="A4A3A4"/>
          </p15:clr>
        </p15:guide>
        <p15:guide id="10" orient="horz" pos="72" userDrawn="1">
          <p15:clr>
            <a:srgbClr val="A4A3A4"/>
          </p15:clr>
        </p15:guide>
        <p15:guide id="11" orient="horz" pos="2160" userDrawn="1">
          <p15:clr>
            <a:srgbClr val="FBAE40"/>
          </p15:clr>
        </p15:guide>
        <p15:guide id="12" pos="3840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13" Type="http://schemas.openxmlformats.org/officeDocument/2006/relationships/tags" Target="../tags/tag171.xml"/><Relationship Id="rId18" Type="http://schemas.openxmlformats.org/officeDocument/2006/relationships/tags" Target="../tags/tag176.xml"/><Relationship Id="rId26" Type="http://schemas.openxmlformats.org/officeDocument/2006/relationships/tags" Target="../tags/tag184.xml"/><Relationship Id="rId39" Type="http://schemas.openxmlformats.org/officeDocument/2006/relationships/slideLayout" Target="../slideLayouts/slideLayout3.xml"/><Relationship Id="rId3" Type="http://schemas.openxmlformats.org/officeDocument/2006/relationships/tags" Target="../tags/tag161.xml"/><Relationship Id="rId21" Type="http://schemas.openxmlformats.org/officeDocument/2006/relationships/tags" Target="../tags/tag179.xml"/><Relationship Id="rId34" Type="http://schemas.openxmlformats.org/officeDocument/2006/relationships/tags" Target="../tags/tag192.xml"/><Relationship Id="rId42" Type="http://schemas.openxmlformats.org/officeDocument/2006/relationships/oleObject" Target="../embeddings/oleObject22.bin"/><Relationship Id="rId7" Type="http://schemas.openxmlformats.org/officeDocument/2006/relationships/tags" Target="../tags/tag165.xml"/><Relationship Id="rId12" Type="http://schemas.openxmlformats.org/officeDocument/2006/relationships/tags" Target="../tags/tag170.xml"/><Relationship Id="rId17" Type="http://schemas.openxmlformats.org/officeDocument/2006/relationships/tags" Target="../tags/tag175.xml"/><Relationship Id="rId25" Type="http://schemas.openxmlformats.org/officeDocument/2006/relationships/tags" Target="../tags/tag183.xml"/><Relationship Id="rId33" Type="http://schemas.openxmlformats.org/officeDocument/2006/relationships/tags" Target="../tags/tag191.xml"/><Relationship Id="rId38" Type="http://schemas.openxmlformats.org/officeDocument/2006/relationships/tags" Target="../tags/tag196.xml"/><Relationship Id="rId2" Type="http://schemas.openxmlformats.org/officeDocument/2006/relationships/tags" Target="../tags/tag160.xml"/><Relationship Id="rId16" Type="http://schemas.openxmlformats.org/officeDocument/2006/relationships/tags" Target="../tags/tag174.xml"/><Relationship Id="rId20" Type="http://schemas.openxmlformats.org/officeDocument/2006/relationships/tags" Target="../tags/tag178.xml"/><Relationship Id="rId29" Type="http://schemas.openxmlformats.org/officeDocument/2006/relationships/tags" Target="../tags/tag187.xml"/><Relationship Id="rId41" Type="http://schemas.openxmlformats.org/officeDocument/2006/relationships/image" Target="../media/image4.emf"/><Relationship Id="rId1" Type="http://schemas.openxmlformats.org/officeDocument/2006/relationships/vmlDrawing" Target="../drawings/vmlDrawing16.vml"/><Relationship Id="rId6" Type="http://schemas.openxmlformats.org/officeDocument/2006/relationships/tags" Target="../tags/tag164.xml"/><Relationship Id="rId11" Type="http://schemas.openxmlformats.org/officeDocument/2006/relationships/tags" Target="../tags/tag169.xml"/><Relationship Id="rId24" Type="http://schemas.openxmlformats.org/officeDocument/2006/relationships/tags" Target="../tags/tag182.xml"/><Relationship Id="rId32" Type="http://schemas.openxmlformats.org/officeDocument/2006/relationships/tags" Target="../tags/tag190.xml"/><Relationship Id="rId37" Type="http://schemas.openxmlformats.org/officeDocument/2006/relationships/tags" Target="../tags/tag195.xml"/><Relationship Id="rId40" Type="http://schemas.openxmlformats.org/officeDocument/2006/relationships/oleObject" Target="../embeddings/oleObject21.bin"/><Relationship Id="rId5" Type="http://schemas.openxmlformats.org/officeDocument/2006/relationships/tags" Target="../tags/tag163.xml"/><Relationship Id="rId15" Type="http://schemas.openxmlformats.org/officeDocument/2006/relationships/tags" Target="../tags/tag173.xml"/><Relationship Id="rId23" Type="http://schemas.openxmlformats.org/officeDocument/2006/relationships/tags" Target="../tags/tag181.xml"/><Relationship Id="rId28" Type="http://schemas.openxmlformats.org/officeDocument/2006/relationships/tags" Target="../tags/tag186.xml"/><Relationship Id="rId36" Type="http://schemas.openxmlformats.org/officeDocument/2006/relationships/tags" Target="../tags/tag194.xml"/><Relationship Id="rId10" Type="http://schemas.openxmlformats.org/officeDocument/2006/relationships/tags" Target="../tags/tag168.xml"/><Relationship Id="rId19" Type="http://schemas.openxmlformats.org/officeDocument/2006/relationships/tags" Target="../tags/tag177.xml"/><Relationship Id="rId31" Type="http://schemas.openxmlformats.org/officeDocument/2006/relationships/tags" Target="../tags/tag189.xml"/><Relationship Id="rId4" Type="http://schemas.openxmlformats.org/officeDocument/2006/relationships/tags" Target="../tags/tag162.xml"/><Relationship Id="rId9" Type="http://schemas.openxmlformats.org/officeDocument/2006/relationships/tags" Target="../tags/tag167.xml"/><Relationship Id="rId14" Type="http://schemas.openxmlformats.org/officeDocument/2006/relationships/tags" Target="../tags/tag172.xml"/><Relationship Id="rId22" Type="http://schemas.openxmlformats.org/officeDocument/2006/relationships/tags" Target="../tags/tag180.xml"/><Relationship Id="rId27" Type="http://schemas.openxmlformats.org/officeDocument/2006/relationships/tags" Target="../tags/tag185.xml"/><Relationship Id="rId30" Type="http://schemas.openxmlformats.org/officeDocument/2006/relationships/tags" Target="../tags/tag188.xml"/><Relationship Id="rId35" Type="http://schemas.openxmlformats.org/officeDocument/2006/relationships/tags" Target="../tags/tag193.xml"/><Relationship Id="rId43" Type="http://schemas.openxmlformats.org/officeDocument/2006/relationships/image" Target="../media/image17.emf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208.xml"/><Relationship Id="rId18" Type="http://schemas.openxmlformats.org/officeDocument/2006/relationships/tags" Target="../tags/tag213.xml"/><Relationship Id="rId26" Type="http://schemas.openxmlformats.org/officeDocument/2006/relationships/tags" Target="../tags/tag221.xml"/><Relationship Id="rId39" Type="http://schemas.openxmlformats.org/officeDocument/2006/relationships/tags" Target="../tags/tag234.xml"/><Relationship Id="rId21" Type="http://schemas.openxmlformats.org/officeDocument/2006/relationships/tags" Target="../tags/tag216.xml"/><Relationship Id="rId34" Type="http://schemas.openxmlformats.org/officeDocument/2006/relationships/tags" Target="../tags/tag229.xml"/><Relationship Id="rId42" Type="http://schemas.openxmlformats.org/officeDocument/2006/relationships/tags" Target="../tags/tag237.xml"/><Relationship Id="rId47" Type="http://schemas.openxmlformats.org/officeDocument/2006/relationships/tags" Target="../tags/tag242.xml"/><Relationship Id="rId50" Type="http://schemas.openxmlformats.org/officeDocument/2006/relationships/tags" Target="../tags/tag245.xml"/><Relationship Id="rId55" Type="http://schemas.openxmlformats.org/officeDocument/2006/relationships/tags" Target="../tags/tag250.xml"/><Relationship Id="rId63" Type="http://schemas.openxmlformats.org/officeDocument/2006/relationships/slideLayout" Target="../slideLayouts/slideLayout3.xml"/><Relationship Id="rId68" Type="http://schemas.openxmlformats.org/officeDocument/2006/relationships/oleObject" Target="../embeddings/oleObject25.bin"/><Relationship Id="rId7" Type="http://schemas.openxmlformats.org/officeDocument/2006/relationships/tags" Target="../tags/tag202.xml"/><Relationship Id="rId2" Type="http://schemas.openxmlformats.org/officeDocument/2006/relationships/tags" Target="../tags/tag197.xml"/><Relationship Id="rId16" Type="http://schemas.openxmlformats.org/officeDocument/2006/relationships/tags" Target="../tags/tag211.xml"/><Relationship Id="rId29" Type="http://schemas.openxmlformats.org/officeDocument/2006/relationships/tags" Target="../tags/tag22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01.xml"/><Relationship Id="rId11" Type="http://schemas.openxmlformats.org/officeDocument/2006/relationships/tags" Target="../tags/tag206.xml"/><Relationship Id="rId24" Type="http://schemas.openxmlformats.org/officeDocument/2006/relationships/tags" Target="../tags/tag219.xml"/><Relationship Id="rId32" Type="http://schemas.openxmlformats.org/officeDocument/2006/relationships/tags" Target="../tags/tag227.xml"/><Relationship Id="rId37" Type="http://schemas.openxmlformats.org/officeDocument/2006/relationships/tags" Target="../tags/tag232.xml"/><Relationship Id="rId40" Type="http://schemas.openxmlformats.org/officeDocument/2006/relationships/tags" Target="../tags/tag235.xml"/><Relationship Id="rId45" Type="http://schemas.openxmlformats.org/officeDocument/2006/relationships/tags" Target="../tags/tag240.xml"/><Relationship Id="rId53" Type="http://schemas.openxmlformats.org/officeDocument/2006/relationships/tags" Target="../tags/tag248.xml"/><Relationship Id="rId58" Type="http://schemas.openxmlformats.org/officeDocument/2006/relationships/tags" Target="../tags/tag253.xml"/><Relationship Id="rId66" Type="http://schemas.openxmlformats.org/officeDocument/2006/relationships/oleObject" Target="../embeddings/oleObject24.bin"/><Relationship Id="rId5" Type="http://schemas.openxmlformats.org/officeDocument/2006/relationships/tags" Target="../tags/tag200.xml"/><Relationship Id="rId15" Type="http://schemas.openxmlformats.org/officeDocument/2006/relationships/tags" Target="../tags/tag210.xml"/><Relationship Id="rId23" Type="http://schemas.openxmlformats.org/officeDocument/2006/relationships/tags" Target="../tags/tag218.xml"/><Relationship Id="rId28" Type="http://schemas.openxmlformats.org/officeDocument/2006/relationships/tags" Target="../tags/tag223.xml"/><Relationship Id="rId36" Type="http://schemas.openxmlformats.org/officeDocument/2006/relationships/tags" Target="../tags/tag231.xml"/><Relationship Id="rId49" Type="http://schemas.openxmlformats.org/officeDocument/2006/relationships/tags" Target="../tags/tag244.xml"/><Relationship Id="rId57" Type="http://schemas.openxmlformats.org/officeDocument/2006/relationships/tags" Target="../tags/tag252.xml"/><Relationship Id="rId61" Type="http://schemas.openxmlformats.org/officeDocument/2006/relationships/tags" Target="../tags/tag256.xml"/><Relationship Id="rId10" Type="http://schemas.openxmlformats.org/officeDocument/2006/relationships/tags" Target="../tags/tag205.xml"/><Relationship Id="rId19" Type="http://schemas.openxmlformats.org/officeDocument/2006/relationships/tags" Target="../tags/tag214.xml"/><Relationship Id="rId31" Type="http://schemas.openxmlformats.org/officeDocument/2006/relationships/tags" Target="../tags/tag226.xml"/><Relationship Id="rId44" Type="http://schemas.openxmlformats.org/officeDocument/2006/relationships/tags" Target="../tags/tag239.xml"/><Relationship Id="rId52" Type="http://schemas.openxmlformats.org/officeDocument/2006/relationships/tags" Target="../tags/tag247.xml"/><Relationship Id="rId60" Type="http://schemas.openxmlformats.org/officeDocument/2006/relationships/tags" Target="../tags/tag255.xml"/><Relationship Id="rId65" Type="http://schemas.openxmlformats.org/officeDocument/2006/relationships/image" Target="../media/image4.emf"/><Relationship Id="rId4" Type="http://schemas.openxmlformats.org/officeDocument/2006/relationships/tags" Target="../tags/tag199.xml"/><Relationship Id="rId9" Type="http://schemas.openxmlformats.org/officeDocument/2006/relationships/tags" Target="../tags/tag204.xml"/><Relationship Id="rId14" Type="http://schemas.openxmlformats.org/officeDocument/2006/relationships/tags" Target="../tags/tag209.xml"/><Relationship Id="rId22" Type="http://schemas.openxmlformats.org/officeDocument/2006/relationships/tags" Target="../tags/tag217.xml"/><Relationship Id="rId27" Type="http://schemas.openxmlformats.org/officeDocument/2006/relationships/tags" Target="../tags/tag222.xml"/><Relationship Id="rId30" Type="http://schemas.openxmlformats.org/officeDocument/2006/relationships/tags" Target="../tags/tag225.xml"/><Relationship Id="rId35" Type="http://schemas.openxmlformats.org/officeDocument/2006/relationships/tags" Target="../tags/tag230.xml"/><Relationship Id="rId43" Type="http://schemas.openxmlformats.org/officeDocument/2006/relationships/tags" Target="../tags/tag238.xml"/><Relationship Id="rId48" Type="http://schemas.openxmlformats.org/officeDocument/2006/relationships/tags" Target="../tags/tag243.xml"/><Relationship Id="rId56" Type="http://schemas.openxmlformats.org/officeDocument/2006/relationships/tags" Target="../tags/tag251.xml"/><Relationship Id="rId64" Type="http://schemas.openxmlformats.org/officeDocument/2006/relationships/oleObject" Target="../embeddings/oleObject23.bin"/><Relationship Id="rId69" Type="http://schemas.openxmlformats.org/officeDocument/2006/relationships/image" Target="../media/image19.emf"/><Relationship Id="rId8" Type="http://schemas.openxmlformats.org/officeDocument/2006/relationships/tags" Target="../tags/tag203.xml"/><Relationship Id="rId51" Type="http://schemas.openxmlformats.org/officeDocument/2006/relationships/tags" Target="../tags/tag246.xml"/><Relationship Id="rId3" Type="http://schemas.openxmlformats.org/officeDocument/2006/relationships/tags" Target="../tags/tag198.xml"/><Relationship Id="rId12" Type="http://schemas.openxmlformats.org/officeDocument/2006/relationships/tags" Target="../tags/tag207.xml"/><Relationship Id="rId17" Type="http://schemas.openxmlformats.org/officeDocument/2006/relationships/tags" Target="../tags/tag212.xml"/><Relationship Id="rId25" Type="http://schemas.openxmlformats.org/officeDocument/2006/relationships/tags" Target="../tags/tag220.xml"/><Relationship Id="rId33" Type="http://schemas.openxmlformats.org/officeDocument/2006/relationships/tags" Target="../tags/tag228.xml"/><Relationship Id="rId38" Type="http://schemas.openxmlformats.org/officeDocument/2006/relationships/tags" Target="../tags/tag233.xml"/><Relationship Id="rId46" Type="http://schemas.openxmlformats.org/officeDocument/2006/relationships/tags" Target="../tags/tag241.xml"/><Relationship Id="rId59" Type="http://schemas.openxmlformats.org/officeDocument/2006/relationships/tags" Target="../tags/tag254.xml"/><Relationship Id="rId67" Type="http://schemas.openxmlformats.org/officeDocument/2006/relationships/image" Target="../media/image18.emf"/><Relationship Id="rId20" Type="http://schemas.openxmlformats.org/officeDocument/2006/relationships/tags" Target="../tags/tag215.xml"/><Relationship Id="rId41" Type="http://schemas.openxmlformats.org/officeDocument/2006/relationships/tags" Target="../tags/tag236.xml"/><Relationship Id="rId54" Type="http://schemas.openxmlformats.org/officeDocument/2006/relationships/tags" Target="../tags/tag249.xml"/><Relationship Id="rId62" Type="http://schemas.openxmlformats.org/officeDocument/2006/relationships/tags" Target="../tags/tag25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34" Type="http://schemas.openxmlformats.org/officeDocument/2006/relationships/oleObject" Target="../embeddings/oleObject9.bin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image" Target="../media/image7.emf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oleObject" Target="../embeddings/oleObject10.bin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3" Type="http://schemas.openxmlformats.org/officeDocument/2006/relationships/tags" Target="../tags/tag43.xml"/><Relationship Id="rId21" Type="http://schemas.openxmlformats.org/officeDocument/2006/relationships/oleObject" Target="../embeddings/oleObject11.bin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slideLayout" Target="../slideLayouts/slideLayout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8.emf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oleObject" Target="../embeddings/oleObject12.bin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image" Target="../media/image10.png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9.png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4.xml"/><Relationship Id="rId11" Type="http://schemas.openxmlformats.org/officeDocument/2006/relationships/chart" Target="../charts/chart1.xml"/><Relationship Id="rId5" Type="http://schemas.openxmlformats.org/officeDocument/2006/relationships/tags" Target="../tags/tag63.xml"/><Relationship Id="rId10" Type="http://schemas.openxmlformats.org/officeDocument/2006/relationships/image" Target="../media/image4.emf"/><Relationship Id="rId4" Type="http://schemas.openxmlformats.org/officeDocument/2006/relationships/tags" Target="../tags/tag62.xml"/><Relationship Id="rId9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26" Type="http://schemas.openxmlformats.org/officeDocument/2006/relationships/tags" Target="../tags/tag90.xml"/><Relationship Id="rId39" Type="http://schemas.openxmlformats.org/officeDocument/2006/relationships/tags" Target="../tags/tag103.xml"/><Relationship Id="rId21" Type="http://schemas.openxmlformats.org/officeDocument/2006/relationships/tags" Target="../tags/tag85.xml"/><Relationship Id="rId34" Type="http://schemas.openxmlformats.org/officeDocument/2006/relationships/tags" Target="../tags/tag98.xml"/><Relationship Id="rId42" Type="http://schemas.openxmlformats.org/officeDocument/2006/relationships/tags" Target="../tags/tag106.xml"/><Relationship Id="rId47" Type="http://schemas.openxmlformats.org/officeDocument/2006/relationships/tags" Target="../tags/tag111.xml"/><Relationship Id="rId50" Type="http://schemas.openxmlformats.org/officeDocument/2006/relationships/tags" Target="../tags/tag114.xml"/><Relationship Id="rId55" Type="http://schemas.openxmlformats.org/officeDocument/2006/relationships/tags" Target="../tags/tag119.xml"/><Relationship Id="rId63" Type="http://schemas.openxmlformats.org/officeDocument/2006/relationships/image" Target="../media/image11.emf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29" Type="http://schemas.openxmlformats.org/officeDocument/2006/relationships/tags" Target="../tags/tag93.xml"/><Relationship Id="rId41" Type="http://schemas.openxmlformats.org/officeDocument/2006/relationships/tags" Target="../tags/tag105.xml"/><Relationship Id="rId54" Type="http://schemas.openxmlformats.org/officeDocument/2006/relationships/tags" Target="../tags/tag118.xml"/><Relationship Id="rId62" Type="http://schemas.openxmlformats.org/officeDocument/2006/relationships/oleObject" Target="../embeddings/oleObject15.bin"/><Relationship Id="rId1" Type="http://schemas.openxmlformats.org/officeDocument/2006/relationships/vmlDrawing" Target="../drawings/vmlDrawing12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tags" Target="../tags/tag88.xml"/><Relationship Id="rId32" Type="http://schemas.openxmlformats.org/officeDocument/2006/relationships/tags" Target="../tags/tag96.xml"/><Relationship Id="rId37" Type="http://schemas.openxmlformats.org/officeDocument/2006/relationships/tags" Target="../tags/tag101.xml"/><Relationship Id="rId40" Type="http://schemas.openxmlformats.org/officeDocument/2006/relationships/tags" Target="../tags/tag104.xml"/><Relationship Id="rId45" Type="http://schemas.openxmlformats.org/officeDocument/2006/relationships/tags" Target="../tags/tag109.xml"/><Relationship Id="rId53" Type="http://schemas.openxmlformats.org/officeDocument/2006/relationships/tags" Target="../tags/tag117.xml"/><Relationship Id="rId58" Type="http://schemas.openxmlformats.org/officeDocument/2006/relationships/tags" Target="../tags/tag122.xml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23" Type="http://schemas.openxmlformats.org/officeDocument/2006/relationships/tags" Target="../tags/tag87.xml"/><Relationship Id="rId28" Type="http://schemas.openxmlformats.org/officeDocument/2006/relationships/tags" Target="../tags/tag92.xml"/><Relationship Id="rId36" Type="http://schemas.openxmlformats.org/officeDocument/2006/relationships/tags" Target="../tags/tag100.xml"/><Relationship Id="rId49" Type="http://schemas.openxmlformats.org/officeDocument/2006/relationships/tags" Target="../tags/tag113.xml"/><Relationship Id="rId57" Type="http://schemas.openxmlformats.org/officeDocument/2006/relationships/tags" Target="../tags/tag121.xml"/><Relationship Id="rId61" Type="http://schemas.openxmlformats.org/officeDocument/2006/relationships/image" Target="../media/image4.emf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31" Type="http://schemas.openxmlformats.org/officeDocument/2006/relationships/tags" Target="../tags/tag95.xml"/><Relationship Id="rId44" Type="http://schemas.openxmlformats.org/officeDocument/2006/relationships/tags" Target="../tags/tag108.xml"/><Relationship Id="rId52" Type="http://schemas.openxmlformats.org/officeDocument/2006/relationships/tags" Target="../tags/tag116.xml"/><Relationship Id="rId60" Type="http://schemas.openxmlformats.org/officeDocument/2006/relationships/oleObject" Target="../embeddings/oleObject14.bin"/><Relationship Id="rId65" Type="http://schemas.openxmlformats.org/officeDocument/2006/relationships/image" Target="../media/image12.emf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tags" Target="../tags/tag86.xml"/><Relationship Id="rId27" Type="http://schemas.openxmlformats.org/officeDocument/2006/relationships/tags" Target="../tags/tag91.xml"/><Relationship Id="rId30" Type="http://schemas.openxmlformats.org/officeDocument/2006/relationships/tags" Target="../tags/tag94.xml"/><Relationship Id="rId35" Type="http://schemas.openxmlformats.org/officeDocument/2006/relationships/tags" Target="../tags/tag99.xml"/><Relationship Id="rId43" Type="http://schemas.openxmlformats.org/officeDocument/2006/relationships/tags" Target="../tags/tag107.xml"/><Relationship Id="rId48" Type="http://schemas.openxmlformats.org/officeDocument/2006/relationships/tags" Target="../tags/tag112.xml"/><Relationship Id="rId56" Type="http://schemas.openxmlformats.org/officeDocument/2006/relationships/tags" Target="../tags/tag120.xml"/><Relationship Id="rId64" Type="http://schemas.openxmlformats.org/officeDocument/2006/relationships/oleObject" Target="../embeddings/oleObject16.bin"/><Relationship Id="rId8" Type="http://schemas.openxmlformats.org/officeDocument/2006/relationships/tags" Target="../tags/tag72.xml"/><Relationship Id="rId51" Type="http://schemas.openxmlformats.org/officeDocument/2006/relationships/tags" Target="../tags/tag115.xml"/><Relationship Id="rId3" Type="http://schemas.openxmlformats.org/officeDocument/2006/relationships/tags" Target="../tags/tag67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tags" Target="../tags/tag89.xml"/><Relationship Id="rId33" Type="http://schemas.openxmlformats.org/officeDocument/2006/relationships/tags" Target="../tags/tag97.xml"/><Relationship Id="rId38" Type="http://schemas.openxmlformats.org/officeDocument/2006/relationships/tags" Target="../tags/tag102.xml"/><Relationship Id="rId46" Type="http://schemas.openxmlformats.org/officeDocument/2006/relationships/tags" Target="../tags/tag110.xml"/><Relationship Id="rId59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tags" Target="../tags/tag134.xml"/><Relationship Id="rId18" Type="http://schemas.openxmlformats.org/officeDocument/2006/relationships/tags" Target="../tags/tag139.xml"/><Relationship Id="rId26" Type="http://schemas.openxmlformats.org/officeDocument/2006/relationships/tags" Target="../tags/tag147.xml"/><Relationship Id="rId39" Type="http://schemas.openxmlformats.org/officeDocument/2006/relationships/image" Target="../media/image13.emf"/><Relationship Id="rId3" Type="http://schemas.openxmlformats.org/officeDocument/2006/relationships/tags" Target="../tags/tag124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17" Type="http://schemas.openxmlformats.org/officeDocument/2006/relationships/tags" Target="../tags/tag138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oleObject" Target="../embeddings/oleObject18.bin"/><Relationship Id="rId2" Type="http://schemas.openxmlformats.org/officeDocument/2006/relationships/tags" Target="../tags/tag123.xml"/><Relationship Id="rId16" Type="http://schemas.openxmlformats.org/officeDocument/2006/relationships/tags" Target="../tags/tag137.xml"/><Relationship Id="rId20" Type="http://schemas.openxmlformats.org/officeDocument/2006/relationships/tags" Target="../tags/tag141.xml"/><Relationship Id="rId29" Type="http://schemas.openxmlformats.org/officeDocument/2006/relationships/tags" Target="../tags/tag15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image" Target="../media/image4.emf"/><Relationship Id="rId5" Type="http://schemas.openxmlformats.org/officeDocument/2006/relationships/tags" Target="../tags/tag126.xml"/><Relationship Id="rId15" Type="http://schemas.openxmlformats.org/officeDocument/2006/relationships/tags" Target="../tags/tag136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oleObject" Target="../embeddings/oleObject17.bin"/><Relationship Id="rId10" Type="http://schemas.openxmlformats.org/officeDocument/2006/relationships/tags" Target="../tags/tag131.xml"/><Relationship Id="rId19" Type="http://schemas.openxmlformats.org/officeDocument/2006/relationships/tags" Target="../tags/tag140.xml"/><Relationship Id="rId31" Type="http://schemas.openxmlformats.org/officeDocument/2006/relationships/tags" Target="../tags/tag152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tags" Target="../tags/tag135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57.xml"/><Relationship Id="rId7" Type="http://schemas.openxmlformats.org/officeDocument/2006/relationships/image" Target="../media/image14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7F02C2-59B1-4ADC-8D9F-185ED26323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#Mobilità Tour</a:t>
            </a:r>
          </a:p>
          <a:p>
            <a:endParaRPr lang="en-GB" dirty="0"/>
          </a:p>
          <a:p>
            <a:r>
              <a:rPr lang="en-GB" dirty="0"/>
              <a:t>Bari, 14 </a:t>
            </a:r>
            <a:r>
              <a:rPr lang="en-GB" dirty="0" err="1"/>
              <a:t>Novembre</a:t>
            </a:r>
            <a:r>
              <a:rPr lang="en-GB" dirty="0"/>
              <a:t> 2017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Emissioni: costruttori auto alla rincorsa delle normative europee. Intanto l’elettrico decolla.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F0A5F3-2C8B-42FB-9805-E87E1B32B9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ommaso A. Ascarelli, Director AlixPartners</a:t>
            </a:r>
          </a:p>
        </p:txBody>
      </p:sp>
    </p:spTree>
    <p:extLst>
      <p:ext uri="{BB962C8B-B14F-4D97-AF65-F5344CB8AC3E}">
        <p14:creationId xmlns:p14="http://schemas.microsoft.com/office/powerpoint/2010/main" val="12652523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76080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22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L’elettrificazione auto sta decollando, ma l’autonomia elettrica media cresce lentamente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5CC3FEB-8B01-4F8D-AEFC-760A033F5B2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it-IT" sz="1000" dirty="0"/>
              <a:t>1. Criterio per definire i veicoli equivalenti: autonomia elettrica /500km</a:t>
            </a:r>
            <a:br>
              <a:rPr lang="it-IT" sz="1000" dirty="0"/>
            </a:br>
            <a:r>
              <a:rPr lang="it-IT" sz="1000" dirty="0"/>
              <a:t>Fonti: IHS Markit, EV-volumes.com, stime AlixPartners</a:t>
            </a:r>
          </a:p>
        </p:txBody>
      </p:sp>
      <p:sp>
        <p:nvSpPr>
          <p:cNvPr id="60" name="Pentagon 3">
            <a:extLst>
              <a:ext uri="{FF2B5EF4-FFF2-40B4-BE49-F238E27FC236}">
                <a16:creationId xmlns:a16="http://schemas.microsoft.com/office/drawing/2014/main" id="{393228E7-3AAF-4B70-AFC3-8020D434B49A}"/>
              </a:ext>
            </a:extLst>
          </p:cNvPr>
          <p:cNvSpPr/>
          <p:nvPr/>
        </p:nvSpPr>
        <p:spPr bwMode="auto">
          <a:xfrm>
            <a:off x="1624013" y="1143000"/>
            <a:ext cx="8984311" cy="267996"/>
          </a:xfrm>
          <a:prstGeom prst="homePlat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40500" tIns="40500" rIns="40500" bIns="40500" rtlCol="0" anchor="ctr">
            <a:spAutoFit/>
          </a:bodyPr>
          <a:lstStyle/>
          <a:p>
            <a:pPr algn="ctr">
              <a:spcAft>
                <a:spcPts val="338"/>
              </a:spcAft>
            </a:pPr>
            <a:r>
              <a:rPr lang="it-IT" sz="1100" b="1" dirty="0">
                <a:solidFill>
                  <a:schemeClr val="bg1"/>
                </a:solidFill>
                <a:ea typeface="ＭＳ Ｐゴシック" pitchFamily="1" charset="-128"/>
              </a:rPr>
              <a:t>Global AlixPartners Electrification Index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492D4EE-5CCC-4A86-B112-A2A1C56A230A}"/>
              </a:ext>
            </a:extLst>
          </p:cNvPr>
          <p:cNvSpPr/>
          <p:nvPr/>
        </p:nvSpPr>
        <p:spPr bwMode="gray">
          <a:xfrm>
            <a:off x="368300" y="1152525"/>
            <a:ext cx="1080000" cy="25106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40500" tIns="40500" rIns="40500" bIns="40500" rtlCol="0" anchor="ctr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</a:pPr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Q1 ‘13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AB2B41E4-71F8-45B5-B777-6AB3694861E4}"/>
              </a:ext>
            </a:extLst>
          </p:cNvPr>
          <p:cNvSpPr/>
          <p:nvPr/>
        </p:nvSpPr>
        <p:spPr bwMode="gray">
          <a:xfrm>
            <a:off x="371475" y="1566863"/>
            <a:ext cx="1080000" cy="8100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40500" tIns="40500" rIns="40500" bIns="4050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 dirty="0">
                <a:solidFill>
                  <a:schemeClr val="bg1"/>
                </a:solidFill>
                <a:ea typeface="ＭＳ Ｐゴシック" pitchFamily="1" charset="-128"/>
              </a:rPr>
              <a:t>Numero di auto BEV, PHEV, FCEV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 dirty="0">
                <a:solidFill>
                  <a:schemeClr val="bg1"/>
                </a:solidFill>
                <a:ea typeface="ＭＳ Ｐゴシック" pitchFamily="1" charset="-128"/>
              </a:rPr>
              <a:t>41.023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6C38C70-701C-448C-AEFA-85BEAEE7FC45}"/>
              </a:ext>
            </a:extLst>
          </p:cNvPr>
          <p:cNvSpPr/>
          <p:nvPr/>
        </p:nvSpPr>
        <p:spPr bwMode="gray">
          <a:xfrm>
            <a:off x="371475" y="2457450"/>
            <a:ext cx="1080000" cy="8100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40500" tIns="40500" rIns="40500" bIns="4050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Quota di mercato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0,21%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3FD23C9-06B1-4FDC-A72B-E2FD830F9F04}"/>
              </a:ext>
            </a:extLst>
          </p:cNvPr>
          <p:cNvSpPr/>
          <p:nvPr/>
        </p:nvSpPr>
        <p:spPr bwMode="gray">
          <a:xfrm>
            <a:off x="371475" y="3348038"/>
            <a:ext cx="1080000" cy="144145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40500" tIns="40500" rIns="40500" bIns="4050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 dirty="0">
                <a:solidFill>
                  <a:schemeClr val="bg1"/>
                </a:solidFill>
                <a:ea typeface="ＭＳ Ｐゴシック" pitchFamily="1" charset="-128"/>
              </a:rPr>
              <a:t>Autonomia elettrica media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 dirty="0">
                <a:solidFill>
                  <a:schemeClr val="bg1"/>
                </a:solidFill>
                <a:ea typeface="ＭＳ Ｐゴシック" pitchFamily="1" charset="-128"/>
              </a:rPr>
              <a:t>178 km</a:t>
            </a:r>
          </a:p>
        </p:txBody>
      </p:sp>
      <p:graphicFrame>
        <p:nvGraphicFramePr>
          <p:cNvPr id="66" name="Object 65">
            <a:extLst>
              <a:ext uri="{FF2B5EF4-FFF2-40B4-BE49-F238E27FC236}">
                <a16:creationId xmlns:a16="http://schemas.microsoft.com/office/drawing/2014/main" id="{A177669A-36DC-4D75-9D38-8F4470BD3EA1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36111641"/>
              </p:ext>
            </p:extLst>
          </p:nvPr>
        </p:nvGraphicFramePr>
        <p:xfrm>
          <a:off x="2019300" y="1447800"/>
          <a:ext cx="8001068" cy="3438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23" name="Chart" r:id="rId42" imgW="8001068" imgH="3438450" progId="MSGraph.Chart.8">
                  <p:embed followColorScheme="full"/>
                </p:oleObj>
              </mc:Choice>
              <mc:Fallback>
                <p:oleObj name="Chart" r:id="rId42" imgW="8001068" imgH="3438450" progId="MSGraph.Chart.8">
                  <p:embed followColorScheme="full"/>
                  <p:pic>
                    <p:nvPicPr>
                      <p:cNvPr id="18" name="Object 17">
                        <a:extLst>
                          <a:ext uri="{FF2B5EF4-FFF2-40B4-BE49-F238E27FC236}">
                            <a16:creationId xmlns:a16="http://schemas.microsoft.com/office/drawing/2014/main" id="{A3AA35B9-A897-47FF-B818-7B949D36C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2019300" y="1447800"/>
                        <a:ext cx="8001068" cy="34384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Main Content">
            <a:extLst>
              <a:ext uri="{FF2B5EF4-FFF2-40B4-BE49-F238E27FC236}">
                <a16:creationId xmlns:a16="http://schemas.microsoft.com/office/drawing/2014/main" id="{14D5CD29-D398-42DB-B2D7-2D43A39F221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979025" y="3411538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4B2F8F-C512-4366-9BEB-687A8A68B310}" type="datetime'''''''''''''''''0.''''2'''''''''''''''''''">
              <a:rPr lang="it-IT" altLang="en-US" sz="1100"/>
              <a:pPr/>
              <a:t>0.2</a:t>
            </a:fld>
            <a:endParaRPr lang="it-IT" sz="1100" dirty="0">
              <a:sym typeface="+mn-lt"/>
            </a:endParaRPr>
          </a:p>
        </p:txBody>
      </p:sp>
      <p:sp>
        <p:nvSpPr>
          <p:cNvPr id="68" name="Main Content">
            <a:extLst>
              <a:ext uri="{FF2B5EF4-FFF2-40B4-BE49-F238E27FC236}">
                <a16:creationId xmlns:a16="http://schemas.microsoft.com/office/drawing/2014/main" id="{321E617E-FEDD-4153-8E3B-CF87E0636CC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979025" y="4059238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37BF272-31DC-4A4A-A187-ED5000AFDB94}" type="datetime'''''''0''''''''''''''''''''.''''''''''''''''''''1'''''''''">
              <a:rPr lang="it-IT" altLang="en-US" sz="1100"/>
              <a:pPr/>
              <a:t>0.1</a:t>
            </a:fld>
            <a:endParaRPr lang="it-IT" sz="1100" dirty="0">
              <a:sym typeface="+mn-lt"/>
            </a:endParaRPr>
          </a:p>
        </p:txBody>
      </p:sp>
      <p:sp>
        <p:nvSpPr>
          <p:cNvPr id="69" name="Main Content">
            <a:extLst>
              <a:ext uri="{FF2B5EF4-FFF2-40B4-BE49-F238E27FC236}">
                <a16:creationId xmlns:a16="http://schemas.microsoft.com/office/drawing/2014/main" id="{DFA87FB1-2302-4299-B67F-FD7B07402BA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979025" y="4706938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CB52A42-0EB7-47C6-B434-0C6DD84F5A88}" type="datetime'''''0''''''''''.''''''''''''''''''''''''''''''0'''">
              <a:rPr lang="it-IT" altLang="en-US" sz="1100"/>
              <a:pPr/>
              <a:t>0.0</a:t>
            </a:fld>
            <a:endParaRPr lang="it-IT" sz="1100" dirty="0">
              <a:sym typeface="+mn-lt"/>
            </a:endParaRPr>
          </a:p>
        </p:txBody>
      </p:sp>
      <p:sp>
        <p:nvSpPr>
          <p:cNvPr id="70" name="Main Content">
            <a:extLst>
              <a:ext uri="{FF2B5EF4-FFF2-40B4-BE49-F238E27FC236}">
                <a16:creationId xmlns:a16="http://schemas.microsoft.com/office/drawing/2014/main" id="{E296E82C-B66F-4543-84DB-10E894794B1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892300" y="1477963"/>
            <a:ext cx="1778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DE4A367-31EA-43A6-B9DE-928CF9BAB177}" type="datetime'''''''''''''''''''''''''''''''5''''0'''''''''">
              <a:rPr lang="it-IT" altLang="en-US" sz="1100"/>
              <a:pPr/>
              <a:t>50</a:t>
            </a:fld>
            <a:endParaRPr lang="it-IT" sz="1100" dirty="0">
              <a:sym typeface="+mn-lt"/>
            </a:endParaRPr>
          </a:p>
        </p:txBody>
      </p:sp>
      <p:sp>
        <p:nvSpPr>
          <p:cNvPr id="71" name="Main Content">
            <a:extLst>
              <a:ext uri="{FF2B5EF4-FFF2-40B4-BE49-F238E27FC236}">
                <a16:creationId xmlns:a16="http://schemas.microsoft.com/office/drawing/2014/main" id="{D27F9FAB-12CB-484F-8F78-944E7E712B2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892300" y="2125663"/>
            <a:ext cx="1778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0E8695B-B498-477F-9F8D-09A40A18E076}" type="datetime'''''4''''''''''''''''''''''0'''''''''''''''''''''''''''''''">
              <a:rPr lang="it-IT" altLang="en-US" sz="1100"/>
              <a:pPr/>
              <a:t>40</a:t>
            </a:fld>
            <a:endParaRPr lang="it-IT" sz="1100" dirty="0">
              <a:sym typeface="+mn-lt"/>
            </a:endParaRPr>
          </a:p>
        </p:txBody>
      </p:sp>
      <p:sp>
        <p:nvSpPr>
          <p:cNvPr id="72" name="Main Content">
            <a:extLst>
              <a:ext uri="{FF2B5EF4-FFF2-40B4-BE49-F238E27FC236}">
                <a16:creationId xmlns:a16="http://schemas.microsoft.com/office/drawing/2014/main" id="{0907B22B-1F90-4A2E-8B87-966E871E10E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892300" y="2773363"/>
            <a:ext cx="1778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1A3A7FB-2AE9-478C-BD3C-0FB98FB52693}" type="datetime'''''''''''''''''''''''''''30'''''''''''''''''''''''''''''">
              <a:rPr lang="it-IT" altLang="en-US" sz="1100"/>
              <a:pPr/>
              <a:t>30</a:t>
            </a:fld>
            <a:endParaRPr lang="it-IT" sz="1100" dirty="0">
              <a:sym typeface="+mn-lt"/>
            </a:endParaRPr>
          </a:p>
        </p:txBody>
      </p:sp>
      <p:sp>
        <p:nvSpPr>
          <p:cNvPr id="73" name="Main Content">
            <a:extLst>
              <a:ext uri="{FF2B5EF4-FFF2-40B4-BE49-F238E27FC236}">
                <a16:creationId xmlns:a16="http://schemas.microsoft.com/office/drawing/2014/main" id="{FA3733C4-2FBA-4748-A393-2EB0361ACE9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979025" y="2125663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EA90746-3924-4D2B-BE58-8D10AD713C19}" type="datetime'''''0''.''''''''''''''''''4'''''''''''''''''''''''''''''''">
              <a:rPr lang="it-IT" altLang="en-US" sz="1100"/>
              <a:pPr/>
              <a:t>0.4</a:t>
            </a:fld>
            <a:endParaRPr lang="it-IT" sz="1100" dirty="0">
              <a:sym typeface="+mn-lt"/>
            </a:endParaRPr>
          </a:p>
        </p:txBody>
      </p:sp>
      <p:sp>
        <p:nvSpPr>
          <p:cNvPr id="74" name="Main Content">
            <a:extLst>
              <a:ext uri="{FF2B5EF4-FFF2-40B4-BE49-F238E27FC236}">
                <a16:creationId xmlns:a16="http://schemas.microsoft.com/office/drawing/2014/main" id="{F3947B06-FEFC-4933-9326-EAA617C3FC4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979025" y="2773363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800F66-56F1-4DB6-A72A-EED6793CD3DC}" type="datetime'''''''''''''''0''.''''3'''''''">
              <a:rPr lang="it-IT" altLang="en-US" sz="1100"/>
              <a:pPr/>
              <a:t>0.3</a:t>
            </a:fld>
            <a:endParaRPr lang="it-IT" sz="1100" dirty="0">
              <a:sym typeface="+mn-lt"/>
            </a:endParaRPr>
          </a:p>
        </p:txBody>
      </p:sp>
      <p:sp>
        <p:nvSpPr>
          <p:cNvPr id="75" name="Main Content">
            <a:extLst>
              <a:ext uri="{FF2B5EF4-FFF2-40B4-BE49-F238E27FC236}">
                <a16:creationId xmlns:a16="http://schemas.microsoft.com/office/drawing/2014/main" id="{54F1C886-A29A-4659-A71B-D2F7E727B24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979025" y="1477963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A8B85CC-A4AF-4D88-B1EB-E87FA3D135BB}" type="datetime'''''''''''0''.5'''''''''''''''''''''''''''''''''''''''''''''''">
              <a:rPr lang="it-IT" altLang="en-US" sz="1100"/>
              <a:pPr/>
              <a:t>0.5</a:t>
            </a:fld>
            <a:endParaRPr lang="it-IT" sz="1100" dirty="0">
              <a:sym typeface="+mn-lt"/>
            </a:endParaRPr>
          </a:p>
        </p:txBody>
      </p:sp>
      <p:sp>
        <p:nvSpPr>
          <p:cNvPr id="76" name="Main Content">
            <a:extLst>
              <a:ext uri="{FF2B5EF4-FFF2-40B4-BE49-F238E27FC236}">
                <a16:creationId xmlns:a16="http://schemas.microsoft.com/office/drawing/2014/main" id="{5721DAD2-5E55-436E-BFD4-07DFE3EB09A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892300" y="3411538"/>
            <a:ext cx="1778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D76220F-8ABC-41E1-A2BF-C345B3310A20}" type="datetime'''''20'''''''''''''''''''''''''''''''''''''''''''''''''''''''">
              <a:rPr lang="it-IT" altLang="en-US" sz="1100"/>
              <a:pPr/>
              <a:t>20</a:t>
            </a:fld>
            <a:endParaRPr lang="it-IT" sz="1100" dirty="0">
              <a:sym typeface="+mn-lt"/>
            </a:endParaRPr>
          </a:p>
        </p:txBody>
      </p:sp>
      <p:sp>
        <p:nvSpPr>
          <p:cNvPr id="77" name="Main Content">
            <a:extLst>
              <a:ext uri="{FF2B5EF4-FFF2-40B4-BE49-F238E27FC236}">
                <a16:creationId xmlns:a16="http://schemas.microsoft.com/office/drawing/2014/main" id="{29FA1586-ED9F-4C05-8941-FDA3C4E3EBF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892300" y="4059238"/>
            <a:ext cx="1778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7349C44-4184-4B7A-B55D-E1017DD2E918}" type="datetime'''''''''1''0'''''">
              <a:rPr lang="it-IT" altLang="en-US" sz="1100"/>
              <a:pPr/>
              <a:t>10</a:t>
            </a:fld>
            <a:endParaRPr lang="it-IT" sz="1100" dirty="0">
              <a:sym typeface="+mn-lt"/>
            </a:endParaRPr>
          </a:p>
        </p:txBody>
      </p:sp>
      <p:sp>
        <p:nvSpPr>
          <p:cNvPr id="78" name="Main Content">
            <a:extLst>
              <a:ext uri="{FF2B5EF4-FFF2-40B4-BE49-F238E27FC236}">
                <a16:creationId xmlns:a16="http://schemas.microsoft.com/office/drawing/2014/main" id="{105956AA-60AE-4BED-8E67-7DC4737183E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981200" y="4706938"/>
            <a:ext cx="889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DF9C85B-BEC2-499F-9409-C6360ED7F266}" type="datetime'''''''''''''''''''''''0'''''''''''''''''''''''''''''''''''''">
              <a:rPr lang="it-IT" altLang="en-US" sz="1100"/>
              <a:pPr/>
              <a:t>0</a:t>
            </a:fld>
            <a:endParaRPr lang="it-IT" sz="1100" dirty="0">
              <a:sym typeface="+mn-lt"/>
            </a:endParaRPr>
          </a:p>
        </p:txBody>
      </p:sp>
      <p:sp>
        <p:nvSpPr>
          <p:cNvPr id="79" name="Main Content">
            <a:extLst>
              <a:ext uri="{FF2B5EF4-FFF2-40B4-BE49-F238E27FC236}">
                <a16:creationId xmlns:a16="http://schemas.microsoft.com/office/drawing/2014/main" id="{8BB5F4E7-2240-473C-BAE9-73B0B6BDC92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886825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753AA62-A980-46B3-AA37-7E40EF1F96DB}" type="datetime'Q''''''''''''4 ’''''''''''''1''''''''''''''6'''''''''''''''''">
              <a:rPr lang="it-IT" altLang="en-US" sz="1100"/>
              <a:pPr/>
              <a:t>Q4 ’16</a:t>
            </a:fld>
            <a:endParaRPr lang="it-IT" sz="1100" dirty="0">
              <a:sym typeface="+mn-lt"/>
            </a:endParaRPr>
          </a:p>
        </p:txBody>
      </p:sp>
      <p:sp>
        <p:nvSpPr>
          <p:cNvPr id="80" name="Main Content">
            <a:extLst>
              <a:ext uri="{FF2B5EF4-FFF2-40B4-BE49-F238E27FC236}">
                <a16:creationId xmlns:a16="http://schemas.microsoft.com/office/drawing/2014/main" id="{008DB741-677D-4275-805E-FF1AF915C7F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429625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6F2420F-4D18-4F8F-BB32-EAD81393CC0B}" type="datetime'''''''''''''''''''''''''''''Q''''''''3'''''' ’1''6'">
              <a:rPr lang="it-IT" altLang="en-US" sz="1100"/>
              <a:pPr/>
              <a:t>Q3 ’16</a:t>
            </a:fld>
            <a:endParaRPr lang="it-IT" sz="1100" dirty="0">
              <a:sym typeface="+mn-lt"/>
            </a:endParaRPr>
          </a:p>
        </p:txBody>
      </p:sp>
      <p:sp>
        <p:nvSpPr>
          <p:cNvPr id="81" name="Main Content">
            <a:extLst>
              <a:ext uri="{FF2B5EF4-FFF2-40B4-BE49-F238E27FC236}">
                <a16:creationId xmlns:a16="http://schemas.microsoft.com/office/drawing/2014/main" id="{CE41E45F-9BBC-41DA-987F-2807CC202C4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972425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E21271C-0E08-4ECB-8E05-98CE07BA8920}" type="datetime'''''''Q''''''''''''''2'''' ''’''''1''''''''''6'''''''''">
              <a:rPr lang="it-IT" altLang="en-US" sz="1100"/>
              <a:pPr/>
              <a:t>Q2 ’16</a:t>
            </a:fld>
            <a:endParaRPr lang="it-IT" sz="1100" dirty="0">
              <a:sym typeface="+mn-lt"/>
            </a:endParaRPr>
          </a:p>
        </p:txBody>
      </p:sp>
      <p:sp>
        <p:nvSpPr>
          <p:cNvPr id="82" name="Main Content">
            <a:extLst>
              <a:ext uri="{FF2B5EF4-FFF2-40B4-BE49-F238E27FC236}">
                <a16:creationId xmlns:a16="http://schemas.microsoft.com/office/drawing/2014/main" id="{7B623D20-F959-48DD-918E-BCD16E34C3B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515225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75F5FA6-06AF-4108-940A-39E63E0C83DB}" type="datetime'Q''''''''1'' ’''''''1''''''''''''''''''''''''''''''''6'''">
              <a:rPr lang="it-IT" altLang="en-US" sz="1100"/>
              <a:pPr/>
              <a:t>Q1 ’16</a:t>
            </a:fld>
            <a:endParaRPr lang="it-IT" sz="1100" dirty="0">
              <a:sym typeface="+mn-lt"/>
            </a:endParaRPr>
          </a:p>
        </p:txBody>
      </p:sp>
      <p:sp>
        <p:nvSpPr>
          <p:cNvPr id="83" name="Main Content">
            <a:extLst>
              <a:ext uri="{FF2B5EF4-FFF2-40B4-BE49-F238E27FC236}">
                <a16:creationId xmlns:a16="http://schemas.microsoft.com/office/drawing/2014/main" id="{8DCF3E4A-9E82-4D6D-BB20-CA9EC2054B6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058025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83653E-6582-45DE-B4B5-73A7DF9FAEA1}" type="datetime'Q4'''''''''''''''''''''' ’1''5'''''''''''''''''''''''''''''">
              <a:rPr lang="it-IT" altLang="en-US" sz="1100"/>
              <a:pPr/>
              <a:t>Q4 ’15</a:t>
            </a:fld>
            <a:endParaRPr lang="it-IT" sz="1100" dirty="0">
              <a:sym typeface="+mn-lt"/>
            </a:endParaRPr>
          </a:p>
        </p:txBody>
      </p:sp>
      <p:sp>
        <p:nvSpPr>
          <p:cNvPr id="84" name="Main Content">
            <a:extLst>
              <a:ext uri="{FF2B5EF4-FFF2-40B4-BE49-F238E27FC236}">
                <a16:creationId xmlns:a16="http://schemas.microsoft.com/office/drawing/2014/main" id="{38B438B4-B1F2-42F1-A127-10FE8437A21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600825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98AD16C-2CD0-4DF7-BCCB-F93E96C63810}" type="datetime'''''Q''''3'''''''''''''' ’1''''5'''''''''''''''''">
              <a:rPr lang="it-IT" altLang="en-US" sz="1100"/>
              <a:pPr/>
              <a:t>Q3 ’15</a:t>
            </a:fld>
            <a:endParaRPr lang="it-IT" sz="1100" dirty="0">
              <a:sym typeface="+mn-lt"/>
            </a:endParaRPr>
          </a:p>
        </p:txBody>
      </p:sp>
      <p:sp>
        <p:nvSpPr>
          <p:cNvPr id="85" name="Main Content">
            <a:extLst>
              <a:ext uri="{FF2B5EF4-FFF2-40B4-BE49-F238E27FC236}">
                <a16:creationId xmlns:a16="http://schemas.microsoft.com/office/drawing/2014/main" id="{06AAF784-E311-4E16-B49D-CF9364C635C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143625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BA402D3-B130-4440-B1CD-53DAD5D49283}" type="datetime'''''Q''2'''''''' ''''’''''1''''''''''''''''5'''''''''''''''''">
              <a:rPr lang="it-IT" altLang="en-US" sz="1100"/>
              <a:pPr/>
              <a:t>Q2 ’15</a:t>
            </a:fld>
            <a:endParaRPr lang="it-IT" sz="1100" dirty="0">
              <a:sym typeface="+mn-lt"/>
            </a:endParaRPr>
          </a:p>
        </p:txBody>
      </p:sp>
      <p:sp>
        <p:nvSpPr>
          <p:cNvPr id="87" name="Main Content">
            <a:extLst>
              <a:ext uri="{FF2B5EF4-FFF2-40B4-BE49-F238E27FC236}">
                <a16:creationId xmlns:a16="http://schemas.microsoft.com/office/drawing/2014/main" id="{36FC7570-D590-4BB9-982A-D8F14DE0F3F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676900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C492885-2619-485B-9295-5A742F7FD80C}" type="datetime'''''Q''1'''''' ''''''’''1''''''''''''''5'''''''">
              <a:rPr lang="it-IT" altLang="en-US" sz="1100"/>
              <a:pPr/>
              <a:t>Q1 ’15</a:t>
            </a:fld>
            <a:endParaRPr lang="it-IT" sz="1100" dirty="0">
              <a:sym typeface="+mn-lt"/>
            </a:endParaRPr>
          </a:p>
        </p:txBody>
      </p:sp>
      <p:sp>
        <p:nvSpPr>
          <p:cNvPr id="88" name="Main Content">
            <a:extLst>
              <a:ext uri="{FF2B5EF4-FFF2-40B4-BE49-F238E27FC236}">
                <a16:creationId xmlns:a16="http://schemas.microsoft.com/office/drawing/2014/main" id="{2A4FB9AB-4AA0-45A1-A97F-BB4FF201EEC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219700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30F9F5E-C580-44F6-BE82-2E6BA405AD23}" type="datetime'''Q''''4'' ''''''''''''''''''''''''’''''''''''''''''''''1''4'">
              <a:rPr lang="it-IT" altLang="en-US" sz="1100"/>
              <a:pPr/>
              <a:t>Q4 ’14</a:t>
            </a:fld>
            <a:endParaRPr lang="it-IT" sz="1100" dirty="0">
              <a:sym typeface="+mn-lt"/>
            </a:endParaRPr>
          </a:p>
        </p:txBody>
      </p:sp>
      <p:sp>
        <p:nvSpPr>
          <p:cNvPr id="89" name="Main Content">
            <a:extLst>
              <a:ext uri="{FF2B5EF4-FFF2-40B4-BE49-F238E27FC236}">
                <a16:creationId xmlns:a16="http://schemas.microsoft.com/office/drawing/2014/main" id="{99069469-4D34-4408-A35F-0256306E344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762500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65D05EA-82EE-4093-AB62-EDDBDCA1ACA6}" type="datetime'''''''''Q''''''3'' ''''''''''''''''''’''''1''''''4'''''''''''">
              <a:rPr lang="it-IT" altLang="en-US" sz="1100"/>
              <a:pPr/>
              <a:t>Q3 ’14</a:t>
            </a:fld>
            <a:endParaRPr lang="it-IT" sz="1100" dirty="0">
              <a:sym typeface="+mn-lt"/>
            </a:endParaRPr>
          </a:p>
        </p:txBody>
      </p:sp>
      <p:sp>
        <p:nvSpPr>
          <p:cNvPr id="90" name="Main Content">
            <a:extLst>
              <a:ext uri="{FF2B5EF4-FFF2-40B4-BE49-F238E27FC236}">
                <a16:creationId xmlns:a16="http://schemas.microsoft.com/office/drawing/2014/main" id="{1F37852B-802C-4951-8A24-C555D5BA60F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305300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A320742-C622-4754-8492-D528C8D0F440}" type="datetime'Q''2 ''''''’''''''''1''''4'''''''''''''''''">
              <a:rPr lang="it-IT" altLang="en-US" sz="1100"/>
              <a:pPr/>
              <a:t>Q2 ’14</a:t>
            </a:fld>
            <a:endParaRPr lang="it-IT" sz="1100" dirty="0">
              <a:sym typeface="+mn-lt"/>
            </a:endParaRPr>
          </a:p>
        </p:txBody>
      </p:sp>
      <p:sp>
        <p:nvSpPr>
          <p:cNvPr id="91" name="Main Content">
            <a:extLst>
              <a:ext uri="{FF2B5EF4-FFF2-40B4-BE49-F238E27FC236}">
                <a16:creationId xmlns:a16="http://schemas.microsoft.com/office/drawing/2014/main" id="{BC5F65E0-0329-478A-BE76-9636F9C82A5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848100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3079E2D-3B62-4EE6-A19E-A87CF8E6A359}" type="datetime'''''''''''Q''1'''' ''’''''''''''''''''''1''4'''''''''''''''">
              <a:rPr lang="it-IT" altLang="en-US" sz="1100"/>
              <a:pPr/>
              <a:t>Q1 ’14</a:t>
            </a:fld>
            <a:endParaRPr lang="it-IT" sz="1100" dirty="0">
              <a:sym typeface="+mn-lt"/>
            </a:endParaRPr>
          </a:p>
        </p:txBody>
      </p:sp>
      <p:sp>
        <p:nvSpPr>
          <p:cNvPr id="92" name="Main Content">
            <a:extLst>
              <a:ext uri="{FF2B5EF4-FFF2-40B4-BE49-F238E27FC236}">
                <a16:creationId xmlns:a16="http://schemas.microsoft.com/office/drawing/2014/main" id="{79A79A78-3A11-4794-A9CB-148152F50B2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801225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7176C78-9469-45B5-B44D-1297D2EFE4F7}" type="datetime'''''''''Q2'''''''''''' ''’''''1''''''''''''''7'''''''''''''">
              <a:rPr lang="it-IT" altLang="en-US" sz="1100"/>
              <a:pPr/>
              <a:t>Q2 ’17</a:t>
            </a:fld>
            <a:endParaRPr lang="it-IT" sz="1100" dirty="0">
              <a:sym typeface="+mn-lt"/>
            </a:endParaRPr>
          </a:p>
        </p:txBody>
      </p:sp>
      <p:sp>
        <p:nvSpPr>
          <p:cNvPr id="97" name="Main Content">
            <a:extLst>
              <a:ext uri="{FF2B5EF4-FFF2-40B4-BE49-F238E27FC236}">
                <a16:creationId xmlns:a16="http://schemas.microsoft.com/office/drawing/2014/main" id="{8AFEBB6C-68EA-476B-84FB-2878A7C1C5A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344025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920020B-29B3-4E34-83A7-9C5774487656}" type="datetime'''''''''''''Q1'''' ’''''1''''''''''''''''''''7'">
              <a:rPr lang="it-IT" altLang="en-US" sz="1100"/>
              <a:pPr/>
              <a:t>Q1 ’17</a:t>
            </a:fld>
            <a:endParaRPr lang="it-IT" sz="1100" dirty="0">
              <a:sym typeface="+mn-lt"/>
            </a:endParaRPr>
          </a:p>
        </p:txBody>
      </p:sp>
      <p:sp>
        <p:nvSpPr>
          <p:cNvPr id="98" name="Main Content">
            <a:extLst>
              <a:ext uri="{FF2B5EF4-FFF2-40B4-BE49-F238E27FC236}">
                <a16:creationId xmlns:a16="http://schemas.microsoft.com/office/drawing/2014/main" id="{54855F0F-93C5-431B-A632-B4B5CE9A419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390900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8134FC6-B46B-44E8-8F4D-2EF44C74C3F1}" type="datetime'Q''''''''''''4'' ''''''’1''''''''''''''''3'''''''''''''''''">
              <a:rPr lang="it-IT" altLang="en-US" sz="1100"/>
              <a:pPr/>
              <a:t>Q4 ’13</a:t>
            </a:fld>
            <a:endParaRPr lang="it-IT" sz="1100" dirty="0">
              <a:sym typeface="+mn-lt"/>
            </a:endParaRPr>
          </a:p>
        </p:txBody>
      </p:sp>
      <p:sp>
        <p:nvSpPr>
          <p:cNvPr id="99" name="Main Content">
            <a:extLst>
              <a:ext uri="{FF2B5EF4-FFF2-40B4-BE49-F238E27FC236}">
                <a16:creationId xmlns:a16="http://schemas.microsoft.com/office/drawing/2014/main" id="{F913E710-A1FF-4DB2-9F87-49E5008D381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933700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A66EE20-97B6-4503-BD16-92FB116B3055}" type="datetime'''''''''''''''Q''3 ''''''’''''''''''''''''13'''''''''''''">
              <a:rPr lang="it-IT" altLang="en-US" sz="1100"/>
              <a:pPr/>
              <a:t>Q3 ’13</a:t>
            </a:fld>
            <a:endParaRPr lang="it-IT" sz="1100" dirty="0">
              <a:sym typeface="+mn-lt"/>
            </a:endParaRPr>
          </a:p>
        </p:txBody>
      </p:sp>
      <p:sp>
        <p:nvSpPr>
          <p:cNvPr id="100" name="Main Content">
            <a:extLst>
              <a:ext uri="{FF2B5EF4-FFF2-40B4-BE49-F238E27FC236}">
                <a16:creationId xmlns:a16="http://schemas.microsoft.com/office/drawing/2014/main" id="{4A288F6E-4745-4D9B-8E3E-59C69B0003B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476500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07AFA11-8DD7-4794-B2DF-A76F154EFF37}" type="datetime'''''Q''''''''2'''''''''''''''''''''''' ''''''''''’1''''''3'">
              <a:rPr lang="it-IT" altLang="en-US" sz="1100"/>
              <a:pPr/>
              <a:t>Q2 ’13</a:t>
            </a:fld>
            <a:endParaRPr lang="it-IT" sz="1100" dirty="0">
              <a:sym typeface="+mn-lt"/>
            </a:endParaRPr>
          </a:p>
        </p:txBody>
      </p:sp>
      <p:sp>
        <p:nvSpPr>
          <p:cNvPr id="101" name="Main Content">
            <a:extLst>
              <a:ext uri="{FF2B5EF4-FFF2-40B4-BE49-F238E27FC236}">
                <a16:creationId xmlns:a16="http://schemas.microsoft.com/office/drawing/2014/main" id="{44273235-9727-45D2-B170-BF3DC8904E5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019300" y="487203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9C6C0B1-4E42-4D32-8D8B-58DF1A1F29CB}" type="datetime'''''''''''''''''''''''''''''Q''''''''''1 ’''1''''''3'">
              <a:rPr lang="it-IT" altLang="en-US" sz="1100"/>
              <a:pPr/>
              <a:t>Q1 ’13</a:t>
            </a:fld>
            <a:endParaRPr lang="it-IT" sz="1100" dirty="0">
              <a:sym typeface="+mn-lt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8F1C8CE-E8E3-4414-B981-5D3182D8D8D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423863" y="5653088"/>
            <a:ext cx="328613" cy="0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040EF5AC-C6DE-4E55-88ED-8586E4D8A749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423863" y="5434013"/>
            <a:ext cx="328613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0" name="Main Content">
            <a:extLst>
              <a:ext uri="{FF2B5EF4-FFF2-40B4-BE49-F238E27FC236}">
                <a16:creationId xmlns:a16="http://schemas.microsoft.com/office/drawing/2014/main" id="{4AAB78B6-90DA-424D-B8A6-218A0D94BE2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03275" y="5575300"/>
            <a:ext cx="71469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sz="1100" dirty="0">
                <a:uFill>
                  <a:solidFill>
                    <a:schemeClr val="accent5"/>
                  </a:solidFill>
                </a:uFill>
                <a:sym typeface="+mn-lt"/>
              </a:rPr>
              <a:t>Indice 2: Percentuale di auto equivalenti ai veicoli a combustione interna sul totale dei veicoli venduti</a:t>
            </a:r>
          </a:p>
        </p:txBody>
      </p:sp>
      <p:sp>
        <p:nvSpPr>
          <p:cNvPr id="111" name="Main Content">
            <a:extLst>
              <a:ext uri="{FF2B5EF4-FFF2-40B4-BE49-F238E27FC236}">
                <a16:creationId xmlns:a16="http://schemas.microsoft.com/office/drawing/2014/main" id="{56613C22-66F2-4159-8FD2-CD8B9BE72C0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03275" y="5356225"/>
            <a:ext cx="20447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/>
              <a:t>Indice 1: km elettrici venduti</a:t>
            </a:r>
            <a:endParaRPr lang="it-IT" sz="1100" dirty="0">
              <a:uFill>
                <a:solidFill>
                  <a:schemeClr val="accent5"/>
                </a:solidFill>
              </a:uFill>
              <a:sym typeface="+mn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2BBC30A-2D0B-4186-873A-FCBF21FD45D7}"/>
              </a:ext>
            </a:extLst>
          </p:cNvPr>
          <p:cNvSpPr/>
          <p:nvPr/>
        </p:nvSpPr>
        <p:spPr bwMode="gray">
          <a:xfrm>
            <a:off x="10750598" y="1152525"/>
            <a:ext cx="1080000" cy="326953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40500" tIns="40500" rIns="40500" bIns="40500" rtlCol="0" anchor="ctr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</a:pPr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Q2 ‘17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F6E4718E-0066-4644-BC5F-266D01EEFE43}"/>
              </a:ext>
            </a:extLst>
          </p:cNvPr>
          <p:cNvSpPr/>
          <p:nvPr/>
        </p:nvSpPr>
        <p:spPr bwMode="gray">
          <a:xfrm>
            <a:off x="10750598" y="1692942"/>
            <a:ext cx="1080000" cy="1054823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40500" tIns="40500" rIns="40500" bIns="4050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Numero di auto BEV, PHEV, FCEV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260.411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1E32AAB3-D524-4EAC-A681-028DB0B632A8}"/>
              </a:ext>
            </a:extLst>
          </p:cNvPr>
          <p:cNvSpPr/>
          <p:nvPr/>
        </p:nvSpPr>
        <p:spPr bwMode="gray">
          <a:xfrm>
            <a:off x="10750598" y="2852711"/>
            <a:ext cx="1080000" cy="1054823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40500" tIns="40500" rIns="40500" bIns="4050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Quota di mercato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1,19%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CE305284-3FE4-45F9-BCA3-CBFC60B8AEEE}"/>
              </a:ext>
            </a:extLst>
          </p:cNvPr>
          <p:cNvSpPr/>
          <p:nvPr/>
        </p:nvSpPr>
        <p:spPr bwMode="gray">
          <a:xfrm>
            <a:off x="10750598" y="4012478"/>
            <a:ext cx="1080000" cy="776288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40500" tIns="40500" rIns="40500" bIns="40500" rtlCol="0" anchor="ctr">
            <a:no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 dirty="0">
                <a:solidFill>
                  <a:schemeClr val="bg1"/>
                </a:solidFill>
                <a:ea typeface="ＭＳ Ｐゴシック" pitchFamily="1" charset="-128"/>
              </a:rPr>
              <a:t>Autonomia elettrica media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it-IT" sz="1100" b="1" dirty="0">
                <a:solidFill>
                  <a:schemeClr val="bg1"/>
                </a:solidFill>
                <a:ea typeface="ＭＳ Ｐゴシック" pitchFamily="1" charset="-128"/>
              </a:rPr>
              <a:t>182 km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AFB732B5-513A-4A1D-AF40-304F0518C8F8}"/>
              </a:ext>
            </a:extLst>
          </p:cNvPr>
          <p:cNvSpPr/>
          <p:nvPr/>
        </p:nvSpPr>
        <p:spPr bwMode="gray">
          <a:xfrm rot="5400000">
            <a:off x="9796167" y="2740025"/>
            <a:ext cx="1300311" cy="162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r>
              <a:rPr lang="it-IT" sz="1100" b="1" dirty="0"/>
              <a:t>Index 2 </a:t>
            </a:r>
            <a:r>
              <a:rPr lang="it-IT" sz="1100" dirty="0"/>
              <a:t>(percentage)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303887CC-A5F6-4A72-B1DF-D673958C4E9B}"/>
              </a:ext>
            </a:extLst>
          </p:cNvPr>
          <p:cNvSpPr/>
          <p:nvPr/>
        </p:nvSpPr>
        <p:spPr bwMode="gray">
          <a:xfrm rot="16200000">
            <a:off x="3175" y="3059113"/>
            <a:ext cx="3298825" cy="16273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r>
              <a:rPr lang="it-IT" sz="1100" b="1" dirty="0"/>
              <a:t>Index 1 </a:t>
            </a:r>
            <a:r>
              <a:rPr lang="it-IT" sz="1100" dirty="0"/>
              <a:t>(km, Milioni)</a:t>
            </a:r>
          </a:p>
        </p:txBody>
      </p:sp>
    </p:spTree>
    <p:extLst>
      <p:ext uri="{BB962C8B-B14F-4D97-AF65-F5344CB8AC3E}">
        <p14:creationId xmlns:p14="http://schemas.microsoft.com/office/powerpoint/2010/main" val="20829154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878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3" name="think-cell Slide" r:id="rId64" imgW="270" imgH="270" progId="TCLayout.ActiveDocument.1">
                  <p:embed/>
                </p:oleObj>
              </mc:Choice>
              <mc:Fallback>
                <p:oleObj name="think-cell Slide" r:id="rId64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8301" y="423158"/>
            <a:ext cx="11448000" cy="719842"/>
          </a:xfrm>
        </p:spPr>
        <p:txBody>
          <a:bodyPr/>
          <a:lstStyle/>
          <a:p>
            <a:r>
              <a:rPr lang="it-IT" dirty="0"/>
              <a:t>La Cina accelera e guida la classifica mondiale delle auto elettriche vendute, Nord America ed Europa restano indietr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68301" y="6164264"/>
            <a:ext cx="11448000" cy="171735"/>
          </a:xfrm>
        </p:spPr>
        <p:txBody>
          <a:bodyPr/>
          <a:lstStyle/>
          <a:p>
            <a:r>
              <a:rPr lang="en-GB" sz="1000" dirty="0"/>
              <a:t>Fonti: IHS </a:t>
            </a:r>
            <a:r>
              <a:rPr lang="en-GB" sz="1000" dirty="0" err="1"/>
              <a:t>Markit</a:t>
            </a:r>
            <a:r>
              <a:rPr lang="en-GB" sz="1000" dirty="0"/>
              <a:t>, EV-volumes.com, </a:t>
            </a:r>
            <a:r>
              <a:rPr lang="en-GB" sz="1000" dirty="0" err="1"/>
              <a:t>stime</a:t>
            </a:r>
            <a:r>
              <a:rPr lang="en-GB" sz="1000" dirty="0"/>
              <a:t> AlixPartners</a:t>
            </a:r>
          </a:p>
        </p:txBody>
      </p:sp>
      <p:sp>
        <p:nvSpPr>
          <p:cNvPr id="60" name="SubHeaderV">
            <a:extLst>
              <a:ext uri="{FF2B5EF4-FFF2-40B4-BE49-F238E27FC236}">
                <a16:creationId xmlns:a16="http://schemas.microsoft.com/office/drawing/2014/main" id="{3AA9D354-DA7D-4C07-95A2-EE21BAF161E8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68301" y="1149627"/>
            <a:ext cx="5587999" cy="22328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pPr>
              <a:spcAft>
                <a:spcPts val="400"/>
              </a:spcAft>
            </a:pPr>
            <a:r>
              <a:rPr lang="it-IT" dirty="0"/>
              <a:t>Indice 1: regioni principali per trimestre (Q1 ’13 a Q2 ’17)</a:t>
            </a:r>
          </a:p>
        </p:txBody>
      </p:sp>
      <p:sp>
        <p:nvSpPr>
          <p:cNvPr id="25" name="SubHeaderV">
            <a:extLst>
              <a:ext uri="{FF2B5EF4-FFF2-40B4-BE49-F238E27FC236}">
                <a16:creationId xmlns:a16="http://schemas.microsoft.com/office/drawing/2014/main" id="{B7950E84-18DB-42B3-A8FC-D70F65F503C8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6235700" y="1149627"/>
            <a:ext cx="5567902" cy="22328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pPr>
              <a:spcAft>
                <a:spcPts val="400"/>
              </a:spcAft>
            </a:pPr>
            <a:r>
              <a:rPr lang="it-IT" dirty="0"/>
              <a:t>Indice 2: regioni principali per trimestre (Q1 ’13 to Q2 ’17)</a:t>
            </a:r>
          </a:p>
        </p:txBody>
      </p:sp>
      <p:graphicFrame>
        <p:nvGraphicFramePr>
          <p:cNvPr id="36" name="Object 35">
            <a:extLst>
              <a:ext uri="{FF2B5EF4-FFF2-40B4-BE49-F238E27FC236}">
                <a16:creationId xmlns:a16="http://schemas.microsoft.com/office/drawing/2014/main" id="{3443075D-27C9-40A5-B9C5-655CE8B66280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26691679"/>
              </p:ext>
            </p:extLst>
          </p:nvPr>
        </p:nvGraphicFramePr>
        <p:xfrm>
          <a:off x="800100" y="1828800"/>
          <a:ext cx="5143601" cy="28193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4" name="Chart" r:id="rId66" imgW="5143601" imgH="2819340" progId="MSGraph.Chart.8">
                  <p:embed followColorScheme="full"/>
                </p:oleObj>
              </mc:Choice>
              <mc:Fallback>
                <p:oleObj name="Chart" r:id="rId66" imgW="5143601" imgH="2819340" progId="MSGraph.Chart.8">
                  <p:embed followColorScheme="full"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F2AF3E1A-8641-48C0-834B-378DC6B1B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800100" y="1828800"/>
                        <a:ext cx="5143601" cy="28193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Main Content">
            <a:extLst>
              <a:ext uri="{FF2B5EF4-FFF2-40B4-BE49-F238E27FC236}">
                <a16:creationId xmlns:a16="http://schemas.microsoft.com/office/drawing/2014/main" id="{BA63744B-3FC6-43E1-A9FB-16A0F957976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73100" y="1839913"/>
            <a:ext cx="1778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8A08D6C-8A38-45CA-87B1-3CCEBAA8E6D8}" type="datetime'''5''0'''''''''''">
              <a:rPr lang="it-IT" altLang="en-US" sz="1100"/>
              <a:pPr/>
              <a:t>50</a:t>
            </a:fld>
            <a:endParaRPr lang="it-IT" sz="1100" dirty="0">
              <a:sym typeface="+mn-lt"/>
            </a:endParaRPr>
          </a:p>
        </p:txBody>
      </p:sp>
      <p:sp>
        <p:nvSpPr>
          <p:cNvPr id="47" name="Main Content">
            <a:extLst>
              <a:ext uri="{FF2B5EF4-FFF2-40B4-BE49-F238E27FC236}">
                <a16:creationId xmlns:a16="http://schemas.microsoft.com/office/drawing/2014/main" id="{997876F7-0E9B-403E-B514-AAA61562A5B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73100" y="2363788"/>
            <a:ext cx="1778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5C87E08-09A5-49EB-B52D-B82EE1EC3BF0}" type="datetime'''''''''''''4''''''''''''''''''''''''''''0'''''''''''''''''''">
              <a:rPr lang="it-IT" altLang="en-US" sz="1100"/>
              <a:pPr/>
              <a:t>40</a:t>
            </a:fld>
            <a:endParaRPr lang="it-IT" sz="1100" dirty="0">
              <a:sym typeface="+mn-lt"/>
            </a:endParaRPr>
          </a:p>
        </p:txBody>
      </p:sp>
      <p:sp>
        <p:nvSpPr>
          <p:cNvPr id="50" name="Main Content">
            <a:extLst>
              <a:ext uri="{FF2B5EF4-FFF2-40B4-BE49-F238E27FC236}">
                <a16:creationId xmlns:a16="http://schemas.microsoft.com/office/drawing/2014/main" id="{91D0BF8B-CE1C-4E5D-AECF-672FC1D5362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73100" y="3935413"/>
            <a:ext cx="1778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DA288E8-44E5-40B2-BE46-BCA1D98C9565}" type="datetime'''''''''''''''''''''''''''''''''''''''1''0'''''''">
              <a:rPr lang="it-IT" altLang="en-US" sz="1100"/>
              <a:pPr/>
              <a:t>10</a:t>
            </a:fld>
            <a:endParaRPr lang="it-IT" sz="1100" dirty="0">
              <a:sym typeface="+mn-lt"/>
            </a:endParaRPr>
          </a:p>
        </p:txBody>
      </p:sp>
      <p:sp>
        <p:nvSpPr>
          <p:cNvPr id="49" name="Main Content">
            <a:extLst>
              <a:ext uri="{FF2B5EF4-FFF2-40B4-BE49-F238E27FC236}">
                <a16:creationId xmlns:a16="http://schemas.microsoft.com/office/drawing/2014/main" id="{7F765129-A9FC-4417-BA29-4092FF51DEC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73100" y="3411538"/>
            <a:ext cx="1778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71C2108-7A87-4585-996C-BACB8F240CE9}" type="datetime'20'''''''''''''''''''''''">
              <a:rPr lang="it-IT" altLang="en-US" sz="1100"/>
              <a:pPr/>
              <a:t>20</a:t>
            </a:fld>
            <a:endParaRPr lang="it-IT" sz="1100" dirty="0">
              <a:sym typeface="+mn-lt"/>
            </a:endParaRPr>
          </a:p>
        </p:txBody>
      </p:sp>
      <p:sp>
        <p:nvSpPr>
          <p:cNvPr id="51" name="Main Content">
            <a:extLst>
              <a:ext uri="{FF2B5EF4-FFF2-40B4-BE49-F238E27FC236}">
                <a16:creationId xmlns:a16="http://schemas.microsoft.com/office/drawing/2014/main" id="{B02F90D6-D35B-49FF-BE2F-20AFA27411C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62000" y="4459288"/>
            <a:ext cx="889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60D0B37-639B-4CC6-9515-FE3C443C194B}" type="datetime'''''''''''''''''''0'''''''''''''''''''''''''''''">
              <a:rPr lang="it-IT" altLang="en-US" sz="1100"/>
              <a:pPr/>
              <a:t>0</a:t>
            </a:fld>
            <a:endParaRPr lang="it-IT" sz="1100" dirty="0">
              <a:sym typeface="+mn-lt"/>
            </a:endParaRPr>
          </a:p>
        </p:txBody>
      </p:sp>
      <p:sp>
        <p:nvSpPr>
          <p:cNvPr id="48" name="Main Content">
            <a:extLst>
              <a:ext uri="{FF2B5EF4-FFF2-40B4-BE49-F238E27FC236}">
                <a16:creationId xmlns:a16="http://schemas.microsoft.com/office/drawing/2014/main" id="{BFF47B31-A004-4019-BCA1-411E4D7D640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73100" y="2887663"/>
            <a:ext cx="1778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682740D-4AEC-40E9-B6A3-A93AAA76079B}" type="datetime'''''''''3''''''0'''">
              <a:rPr lang="it-IT" altLang="en-US" sz="1100"/>
              <a:pPr/>
              <a:t>30</a:t>
            </a:fld>
            <a:endParaRPr lang="it-IT" sz="1100" dirty="0">
              <a:sym typeface="+mn-lt"/>
            </a:endParaRPr>
          </a:p>
        </p:txBody>
      </p:sp>
      <p:sp>
        <p:nvSpPr>
          <p:cNvPr id="64" name="Main Content">
            <a:extLst>
              <a:ext uri="{FF2B5EF4-FFF2-40B4-BE49-F238E27FC236}">
                <a16:creationId xmlns:a16="http://schemas.microsoft.com/office/drawing/2014/main" id="{84ED377D-84B6-48F3-8352-17DDCA67BD4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14350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E9545EC-5442-4C84-AED2-F6ABB8826258}" type="datetime'Q4'' ''’1''''''''6'''''''''''''''''''''''''''''''''">
              <a:rPr lang="it-IT" altLang="en-US" sz="1100"/>
              <a:pPr/>
              <a:t>Q4 ’16</a:t>
            </a:fld>
            <a:endParaRPr lang="it-IT" sz="1100" dirty="0">
              <a:sym typeface="+mn-lt"/>
            </a:endParaRPr>
          </a:p>
        </p:txBody>
      </p:sp>
      <p:sp>
        <p:nvSpPr>
          <p:cNvPr id="63" name="Main Content">
            <a:extLst>
              <a:ext uri="{FF2B5EF4-FFF2-40B4-BE49-F238E27FC236}">
                <a16:creationId xmlns:a16="http://schemas.microsoft.com/office/drawing/2014/main" id="{6CCB3EB9-6129-47D3-8BBC-CAD056AFCDD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43877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BC5836D-4BCC-4ED5-AFA0-06A1236C7CD9}" type="datetime'''''''''''''''''''''Q''1'''''''''''''' ''''’''1''''''''7'''''">
              <a:rPr lang="it-IT" altLang="en-US" sz="1100"/>
              <a:pPr/>
              <a:t>Q1 ’17</a:t>
            </a:fld>
            <a:endParaRPr lang="it-IT" sz="1100" dirty="0">
              <a:sym typeface="+mn-lt"/>
            </a:endParaRPr>
          </a:p>
        </p:txBody>
      </p:sp>
      <p:sp>
        <p:nvSpPr>
          <p:cNvPr id="62" name="Main Content">
            <a:extLst>
              <a:ext uri="{FF2B5EF4-FFF2-40B4-BE49-F238E27FC236}">
                <a16:creationId xmlns:a16="http://schemas.microsoft.com/office/drawing/2014/main" id="{7925A669-0DFD-4297-9A01-53E4A126354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2452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7D5C25-541D-4CDD-9F3D-F6782E406076}" type="datetime'''''''''''''''''''''Q2'''' ''''’''''''''''''1''''''''''7'''">
              <a:rPr lang="it-IT" altLang="en-US" sz="1100"/>
              <a:pPr/>
              <a:t>Q2 ’17</a:t>
            </a:fld>
            <a:endParaRPr lang="it-IT" sz="1100" dirty="0">
              <a:sym typeface="+mn-lt"/>
            </a:endParaRPr>
          </a:p>
        </p:txBody>
      </p:sp>
      <p:sp>
        <p:nvSpPr>
          <p:cNvPr id="55" name="Main Content">
            <a:extLst>
              <a:ext uri="{FF2B5EF4-FFF2-40B4-BE49-F238E27FC236}">
                <a16:creationId xmlns:a16="http://schemas.microsoft.com/office/drawing/2014/main" id="{DE146FCC-6ED6-4889-A239-55F2E133F3C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5775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B4E253B-28EC-4856-A5F2-0020F14A906D}" type="datetime'''Q''''''''''''''3'' ''''''''''''''’''''''''''1''''''''''''6'">
              <a:rPr lang="it-IT" altLang="en-US" sz="1100"/>
              <a:pPr/>
              <a:t>Q3 ’16</a:t>
            </a:fld>
            <a:endParaRPr lang="it-IT" sz="1100" dirty="0">
              <a:sym typeface="+mn-lt"/>
            </a:endParaRPr>
          </a:p>
        </p:txBody>
      </p:sp>
      <p:sp>
        <p:nvSpPr>
          <p:cNvPr id="54" name="Main Content">
            <a:extLst>
              <a:ext uri="{FF2B5EF4-FFF2-40B4-BE49-F238E27FC236}">
                <a16:creationId xmlns:a16="http://schemas.microsoft.com/office/drawing/2014/main" id="{E78E9365-8F75-431C-ACA3-B9D5562CF0D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0010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E714E17-15E7-44BE-9A34-C4E072231E8A}" type="datetime'Q''''''''''''1 ’''''''''''''''''''1''''''''''''''''''''''''3'">
              <a:rPr lang="it-IT" altLang="en-US" sz="1100"/>
              <a:pPr/>
              <a:t>Q1 ’13</a:t>
            </a:fld>
            <a:endParaRPr lang="it-IT" sz="1100" dirty="0">
              <a:sym typeface="+mn-lt"/>
            </a:endParaRPr>
          </a:p>
        </p:txBody>
      </p:sp>
      <p:sp>
        <p:nvSpPr>
          <p:cNvPr id="56" name="Main Content">
            <a:extLst>
              <a:ext uri="{FF2B5EF4-FFF2-40B4-BE49-F238E27FC236}">
                <a16:creationId xmlns:a16="http://schemas.microsoft.com/office/drawing/2014/main" id="{F3FBF9C7-DFA2-4636-A329-0DCABC71DA8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56247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E4DDAE2-3465-4C63-8B8A-0F546D909073}" type="datetime'''Q2'' ''''''''''''''''''''''''’''''''''1''''''''''''''''''6'">
              <a:rPr lang="it-IT" altLang="en-US" sz="1100"/>
              <a:pPr/>
              <a:t>Q2 ’16</a:t>
            </a:fld>
            <a:endParaRPr lang="it-IT" sz="1100" dirty="0">
              <a:sym typeface="+mn-lt"/>
            </a:endParaRPr>
          </a:p>
        </p:txBody>
      </p:sp>
      <p:sp>
        <p:nvSpPr>
          <p:cNvPr id="57" name="Main Content">
            <a:extLst>
              <a:ext uri="{FF2B5EF4-FFF2-40B4-BE49-F238E27FC236}">
                <a16:creationId xmlns:a16="http://schemas.microsoft.com/office/drawing/2014/main" id="{191EC0C7-0511-44F2-9B3E-3B4ADBE4EB4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27672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0E9FD22-564E-4F4A-B98F-B0E3D30C00B1}" type="datetime'''''''''''''Q''''''''''''''''1'' ''''’''''''''''16'''''''''">
              <a:rPr lang="it-IT" altLang="en-US" sz="1100"/>
              <a:pPr/>
              <a:t>Q1 ’16</a:t>
            </a:fld>
            <a:endParaRPr lang="it-IT" sz="1100" dirty="0">
              <a:sym typeface="+mn-lt"/>
            </a:endParaRPr>
          </a:p>
        </p:txBody>
      </p:sp>
      <p:sp>
        <p:nvSpPr>
          <p:cNvPr id="58" name="Main Content">
            <a:extLst>
              <a:ext uri="{FF2B5EF4-FFF2-40B4-BE49-F238E27FC236}">
                <a16:creationId xmlns:a16="http://schemas.microsoft.com/office/drawing/2014/main" id="{9C7F1C78-FEFA-455E-B37D-376A763728A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99097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1109951-F04A-4680-B690-4FCD072D2684}" type="datetime'''''Q''''4'''' ’''''''''''''''''1''''''''''''''5'''''''''''">
              <a:rPr lang="it-IT" altLang="en-US" sz="1100"/>
              <a:pPr/>
              <a:t>Q4 ’15</a:t>
            </a:fld>
            <a:endParaRPr lang="it-IT" sz="1100" dirty="0">
              <a:sym typeface="+mn-lt"/>
            </a:endParaRPr>
          </a:p>
        </p:txBody>
      </p:sp>
      <p:sp>
        <p:nvSpPr>
          <p:cNvPr id="59" name="Main Content">
            <a:extLst>
              <a:ext uri="{FF2B5EF4-FFF2-40B4-BE49-F238E27FC236}">
                <a16:creationId xmlns:a16="http://schemas.microsoft.com/office/drawing/2014/main" id="{FB99AB87-C034-4A6D-881E-E49E23CE7D1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69570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41CED57-0321-4FF2-9234-257613670D1F}" type="datetime'''''''Q''3'''''''' ’''''''1''''''''''''''''''''''''5'''''''">
              <a:rPr lang="it-IT" altLang="en-US" sz="1100"/>
              <a:pPr/>
              <a:t>Q3 ’15</a:t>
            </a:fld>
            <a:endParaRPr lang="it-IT" sz="1100" dirty="0">
              <a:sym typeface="+mn-lt"/>
            </a:endParaRPr>
          </a:p>
        </p:txBody>
      </p:sp>
      <p:sp>
        <p:nvSpPr>
          <p:cNvPr id="61" name="Main Content">
            <a:extLst>
              <a:ext uri="{FF2B5EF4-FFF2-40B4-BE49-F238E27FC236}">
                <a16:creationId xmlns:a16="http://schemas.microsoft.com/office/drawing/2014/main" id="{2182D4A9-663B-4A14-BDB5-17868336258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40995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C97ED6F-C9A2-4657-8701-20A671672528}" type="datetime'Q''''''''2'' ’''''''''''''''''''''''1''''''''''''''''''''''5'">
              <a:rPr lang="it-IT" altLang="en-US" sz="1100"/>
              <a:pPr/>
              <a:t>Q2 ’15</a:t>
            </a:fld>
            <a:endParaRPr lang="it-IT" sz="1100" dirty="0">
              <a:sym typeface="+mn-lt"/>
            </a:endParaRPr>
          </a:p>
        </p:txBody>
      </p:sp>
      <p:sp>
        <p:nvSpPr>
          <p:cNvPr id="65" name="Main Content">
            <a:extLst>
              <a:ext uri="{FF2B5EF4-FFF2-40B4-BE49-F238E27FC236}">
                <a16:creationId xmlns:a16="http://schemas.microsoft.com/office/drawing/2014/main" id="{CCA6E966-60C7-4B04-97B9-4545EFCB955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11467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06DFDF3-9A1B-43CB-8CCB-29CF61526AE5}" type="datetime'''Q''''''''''''''1'' ''''’''''''''1''''''''''''''''5'''">
              <a:rPr lang="it-IT" altLang="en-US" sz="1100"/>
              <a:pPr/>
              <a:t>Q1 ’15</a:t>
            </a:fld>
            <a:endParaRPr lang="it-IT" sz="1100" dirty="0">
              <a:sym typeface="+mn-lt"/>
            </a:endParaRPr>
          </a:p>
        </p:txBody>
      </p:sp>
      <p:sp>
        <p:nvSpPr>
          <p:cNvPr id="66" name="Main Content">
            <a:extLst>
              <a:ext uri="{FF2B5EF4-FFF2-40B4-BE49-F238E27FC236}">
                <a16:creationId xmlns:a16="http://schemas.microsoft.com/office/drawing/2014/main" id="{7A3D54F8-09B0-422E-AFE8-F6D86E530DF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82892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B7385C8-0075-42E1-B578-7BDD01369E23}" type="datetime'''''''''''''Q''4'' ''’1''''''''4'''''''''''''''''''">
              <a:rPr lang="it-IT" altLang="en-US" sz="1100"/>
              <a:pPr/>
              <a:t>Q4 ’14</a:t>
            </a:fld>
            <a:endParaRPr lang="it-IT" sz="1100" dirty="0">
              <a:sym typeface="+mn-lt"/>
            </a:endParaRPr>
          </a:p>
        </p:txBody>
      </p:sp>
      <p:sp>
        <p:nvSpPr>
          <p:cNvPr id="67" name="Main Content">
            <a:extLst>
              <a:ext uri="{FF2B5EF4-FFF2-40B4-BE49-F238E27FC236}">
                <a16:creationId xmlns:a16="http://schemas.microsoft.com/office/drawing/2014/main" id="{59C96449-8691-4E2E-B307-240CCF98A24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53365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0C8244F-6009-4064-9F43-5FFA32382AE5}" type="datetime'''''''''''''Q''''''''''3'''' ''''''’''''''''14'''''''''''''">
              <a:rPr lang="it-IT" altLang="en-US" sz="1100"/>
              <a:pPr/>
              <a:t>Q3 ’14</a:t>
            </a:fld>
            <a:endParaRPr lang="it-IT" sz="1100" dirty="0">
              <a:sym typeface="+mn-lt"/>
            </a:endParaRPr>
          </a:p>
        </p:txBody>
      </p:sp>
      <p:sp>
        <p:nvSpPr>
          <p:cNvPr id="68" name="Main Content">
            <a:extLst>
              <a:ext uri="{FF2B5EF4-FFF2-40B4-BE49-F238E27FC236}">
                <a16:creationId xmlns:a16="http://schemas.microsoft.com/office/drawing/2014/main" id="{E2F2C8E9-6AC2-47BC-AD41-DD3758C48F1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24790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A266FCD-996E-4859-9219-CDDCB1E774F5}" type="datetime'Q''''''''2'''''' ''''''''''’1''4'''''''''''''">
              <a:rPr lang="it-IT" altLang="en-US" sz="1100"/>
              <a:pPr/>
              <a:t>Q2 ’14</a:t>
            </a:fld>
            <a:endParaRPr lang="it-IT" sz="1100" dirty="0">
              <a:sym typeface="+mn-lt"/>
            </a:endParaRPr>
          </a:p>
        </p:txBody>
      </p:sp>
      <p:sp>
        <p:nvSpPr>
          <p:cNvPr id="69" name="Main Content">
            <a:extLst>
              <a:ext uri="{FF2B5EF4-FFF2-40B4-BE49-F238E27FC236}">
                <a16:creationId xmlns:a16="http://schemas.microsoft.com/office/drawing/2014/main" id="{E179BFE6-4443-4644-AC6E-4EC9FFD9A4A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96215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9D3838D-6C6E-4573-8791-0C389E5E09F7}" type="datetime'''Q''''''''''''''''''''''1'''''''''''''''' ''''''’1''''4'''">
              <a:rPr lang="it-IT" altLang="en-US" sz="1100"/>
              <a:pPr/>
              <a:t>Q1 ’14</a:t>
            </a:fld>
            <a:endParaRPr lang="it-IT" sz="1100" dirty="0">
              <a:sym typeface="+mn-lt"/>
            </a:endParaRPr>
          </a:p>
        </p:txBody>
      </p:sp>
      <p:sp>
        <p:nvSpPr>
          <p:cNvPr id="70" name="Main Content">
            <a:extLst>
              <a:ext uri="{FF2B5EF4-FFF2-40B4-BE49-F238E27FC236}">
                <a16:creationId xmlns:a16="http://schemas.microsoft.com/office/drawing/2014/main" id="{CA9E0BA3-DBE2-4C31-8E20-00BD0799B35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66687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717771C-683D-439A-A9E0-6C5EF3205BF1}" type="datetime'''''''''''''Q''4'' ''''''''''''''''''’1''''''''''3'''''''''''">
              <a:rPr lang="it-IT" altLang="en-US" sz="1100"/>
              <a:pPr/>
              <a:t>Q4 ’13</a:t>
            </a:fld>
            <a:endParaRPr lang="it-IT" sz="1100" dirty="0">
              <a:sym typeface="+mn-lt"/>
            </a:endParaRPr>
          </a:p>
        </p:txBody>
      </p:sp>
      <p:sp>
        <p:nvSpPr>
          <p:cNvPr id="52" name="Main Content">
            <a:extLst>
              <a:ext uri="{FF2B5EF4-FFF2-40B4-BE49-F238E27FC236}">
                <a16:creationId xmlns:a16="http://schemas.microsoft.com/office/drawing/2014/main" id="{A6599B3A-C77F-46DB-9996-3C877857FB6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38112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27D6B66-D571-4C7D-AD57-2D21BDA860E2}" type="datetime'Q''''3'''''''''''''''''''''' ''''''''''’''1''3'''''''''''''">
              <a:rPr lang="it-IT" altLang="en-US" sz="1100"/>
              <a:pPr/>
              <a:t>Q3 ’13</a:t>
            </a:fld>
            <a:endParaRPr lang="it-IT" sz="1100" dirty="0">
              <a:sym typeface="+mn-lt"/>
            </a:endParaRPr>
          </a:p>
        </p:txBody>
      </p:sp>
      <p:sp>
        <p:nvSpPr>
          <p:cNvPr id="53" name="Main Content">
            <a:extLst>
              <a:ext uri="{FF2B5EF4-FFF2-40B4-BE49-F238E27FC236}">
                <a16:creationId xmlns:a16="http://schemas.microsoft.com/office/drawing/2014/main" id="{2D93DE9C-25C2-4C71-B558-9EC85FF4957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8585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CB9AE3C-86FF-45BC-8230-35E2A0B7A44F}" type="datetime'''''''''Q''''''''''''''''''''''2'''''''''''' ''''’''''''1''3'">
              <a:rPr lang="it-IT" altLang="en-US" sz="1100"/>
              <a:pPr/>
              <a:t>Q2 ’13</a:t>
            </a:fld>
            <a:endParaRPr lang="it-IT" sz="1100" dirty="0">
              <a:sym typeface="+mn-lt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E21F1B5-29D0-4D0E-86F2-8FD9D7623A8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6827838" y="5584825"/>
            <a:ext cx="328613" cy="0"/>
          </a:xfrm>
          <a:prstGeom prst="line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73259B6-54C2-4208-A087-D00AE1C2C826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4006850" y="5584825"/>
            <a:ext cx="328613" cy="0"/>
          </a:xfrm>
          <a:prstGeom prst="line">
            <a:avLst/>
          </a:prstGeom>
          <a:noFill/>
          <a:ln w="2857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08E0BF7-3CFB-4FB1-A0FC-ED8A6782218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5467350" y="5584825"/>
            <a:ext cx="328613" cy="0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72A31FF-81E1-451B-8556-7DE6633C0AB3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3033713" y="5584825"/>
            <a:ext cx="328613" cy="0"/>
          </a:xfrm>
          <a:prstGeom prst="line">
            <a:avLst/>
          </a:prstGeom>
          <a:noFill/>
          <a:ln w="285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7467F08-0585-4753-9BF6-754A6058D5F2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8321675" y="5584825"/>
            <a:ext cx="328613" cy="0"/>
          </a:xfrm>
          <a:prstGeom prst="lin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Main Content">
            <a:extLst>
              <a:ext uri="{FF2B5EF4-FFF2-40B4-BE49-F238E27FC236}">
                <a16:creationId xmlns:a16="http://schemas.microsoft.com/office/drawing/2014/main" id="{E38F6D6F-37F1-418A-B000-6E13568F1A92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386263" y="5507038"/>
            <a:ext cx="9794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8B592DE-559D-49C5-ADD1-15EE919EC53C}" type="datetime'G''r''''e''''''''a''te''''r'''''' C''''''hi''n''''''''''''a'''">
              <a:rPr lang="it-IT" altLang="en-US" sz="1100"/>
              <a:pPr/>
              <a:t>Greater China</a:t>
            </a:fld>
            <a:endParaRPr lang="it-IT" sz="1100" dirty="0">
              <a:sym typeface="+mn-lt"/>
            </a:endParaRPr>
          </a:p>
        </p:txBody>
      </p:sp>
      <p:sp>
        <p:nvSpPr>
          <p:cNvPr id="81" name="Main Content">
            <a:extLst>
              <a:ext uri="{FF2B5EF4-FFF2-40B4-BE49-F238E27FC236}">
                <a16:creationId xmlns:a16="http://schemas.microsoft.com/office/drawing/2014/main" id="{0551932B-2BD1-4CEC-8C3B-37CA4F1FED6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413125" y="5507038"/>
            <a:ext cx="492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0DECDD3-8027-4CA4-B173-1D196213364B}" type="datetime'E''''''''''''uro''''p''''''''e'''''''''''''''''">
              <a:rPr lang="it-IT" altLang="en-US" sz="1100"/>
              <a:pPr/>
              <a:t>Europe</a:t>
            </a:fld>
            <a:endParaRPr lang="it-IT" sz="1100" dirty="0">
              <a:sym typeface="+mn-lt"/>
            </a:endParaRPr>
          </a:p>
        </p:txBody>
      </p:sp>
      <p:sp>
        <p:nvSpPr>
          <p:cNvPr id="83" name="Main Content">
            <a:extLst>
              <a:ext uri="{FF2B5EF4-FFF2-40B4-BE49-F238E27FC236}">
                <a16:creationId xmlns:a16="http://schemas.microsoft.com/office/drawing/2014/main" id="{E87F612F-FB0C-42D7-862B-5F9F6DAD9C1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207250" y="5507038"/>
            <a:ext cx="10128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0F65748-AE4B-4703-ACF7-46A44064D23A}" type="datetime'''''''N''ort''''''''''h'''''''''' A''''''''''''''me''r''ic''a'">
              <a:rPr lang="it-IT" altLang="en-US" sz="1100"/>
              <a:pPr/>
              <a:t>North America</a:t>
            </a:fld>
            <a:endParaRPr lang="it-IT" sz="1100" dirty="0">
              <a:sym typeface="+mn-lt"/>
            </a:endParaRPr>
          </a:p>
        </p:txBody>
      </p:sp>
      <p:sp>
        <p:nvSpPr>
          <p:cNvPr id="84" name="Main Content">
            <a:extLst>
              <a:ext uri="{FF2B5EF4-FFF2-40B4-BE49-F238E27FC236}">
                <a16:creationId xmlns:a16="http://schemas.microsoft.com/office/drawing/2014/main" id="{53C939F8-7556-4DED-B404-2DFAE965166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846763" y="5507038"/>
            <a:ext cx="8794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77897FB-AD9B-4375-9320-2D39F46F9F33}" type="datetime'J''''''''apa''''n/''''''''''''''''''''K''''''o''''''r''e''a'''">
              <a:rPr lang="it-IT" altLang="en-US" sz="1100"/>
              <a:pPr/>
              <a:t>Japan/Korea</a:t>
            </a:fld>
            <a:endParaRPr lang="it-IT" sz="1100" dirty="0">
              <a:sym typeface="+mn-lt"/>
            </a:endParaRPr>
          </a:p>
        </p:txBody>
      </p:sp>
      <p:sp>
        <p:nvSpPr>
          <p:cNvPr id="82" name="Main Content">
            <a:extLst>
              <a:ext uri="{FF2B5EF4-FFF2-40B4-BE49-F238E27FC236}">
                <a16:creationId xmlns:a16="http://schemas.microsoft.com/office/drawing/2014/main" id="{D9DE0C69-5105-4A35-857D-2BF7B2D8F09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701088" y="5507038"/>
            <a:ext cx="4397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8112417-3C55-42A4-A22E-9C143C078564}" type="datetime'''''''''''''G''''''''l''o''''''''ba''''''''''''''''''''''l'''">
              <a:rPr lang="it-IT" altLang="en-US" sz="1100"/>
              <a:pPr/>
              <a:t>Global</a:t>
            </a:fld>
            <a:endParaRPr lang="it-IT" sz="1100" dirty="0">
              <a:sym typeface="+mn-lt"/>
            </a:endParaRPr>
          </a:p>
        </p:txBody>
      </p:sp>
      <p:graphicFrame>
        <p:nvGraphicFramePr>
          <p:cNvPr id="85" name="Object 84">
            <a:extLst>
              <a:ext uri="{FF2B5EF4-FFF2-40B4-BE49-F238E27FC236}">
                <a16:creationId xmlns:a16="http://schemas.microsoft.com/office/drawing/2014/main" id="{AAE72048-C2BD-41F4-B9F8-7E10B8DF936B}"/>
              </a:ext>
            </a:extLst>
          </p:cNvPr>
          <p:cNvGraphicFramePr>
            <a:graphicFrameLocks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648683481"/>
              </p:ext>
            </p:extLst>
          </p:nvPr>
        </p:nvGraphicFramePr>
        <p:xfrm>
          <a:off x="6705600" y="1828800"/>
          <a:ext cx="5067424" cy="28193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5" name="Chart" r:id="rId68" imgW="5067424" imgH="2819340" progId="MSGraph.Chart.8">
                  <p:embed followColorScheme="full"/>
                </p:oleObj>
              </mc:Choice>
              <mc:Fallback>
                <p:oleObj name="Chart" r:id="rId68" imgW="5067424" imgH="2819340" progId="MSGraph.Chart.8">
                  <p:embed followColorScheme="full"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490D3F7F-4291-4427-B50C-885E8D2AE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6705600" y="1828800"/>
                        <a:ext cx="5067424" cy="28193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Main Content">
            <a:extLst>
              <a:ext uri="{FF2B5EF4-FFF2-40B4-BE49-F238E27FC236}">
                <a16:creationId xmlns:a16="http://schemas.microsoft.com/office/drawing/2014/main" id="{383D518C-6306-47AA-95E2-1AE34510EBB2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537325" y="1839913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>
                <a:sym typeface="+mn-lt"/>
              </a:rPr>
              <a:t>0,8</a:t>
            </a:r>
            <a:endParaRPr lang="it-IT" sz="1100" dirty="0">
              <a:sym typeface="+mn-lt"/>
            </a:endParaRPr>
          </a:p>
        </p:txBody>
      </p:sp>
      <p:sp>
        <p:nvSpPr>
          <p:cNvPr id="86" name="Main Content">
            <a:extLst>
              <a:ext uri="{FF2B5EF4-FFF2-40B4-BE49-F238E27FC236}">
                <a16:creationId xmlns:a16="http://schemas.microsoft.com/office/drawing/2014/main" id="{8D45F720-B973-45B5-9ED7-1341F83DA0C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537325" y="2497138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sz="1100" dirty="0">
                <a:sym typeface="+mn-lt"/>
              </a:rPr>
              <a:t>0,6</a:t>
            </a:r>
          </a:p>
        </p:txBody>
      </p:sp>
      <p:sp>
        <p:nvSpPr>
          <p:cNvPr id="87" name="Main Content">
            <a:extLst>
              <a:ext uri="{FF2B5EF4-FFF2-40B4-BE49-F238E27FC236}">
                <a16:creationId xmlns:a16="http://schemas.microsoft.com/office/drawing/2014/main" id="{04D7D249-9164-4CBE-A0F6-9BBBA85DC100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537325" y="3154363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sz="1100">
                <a:sym typeface="+mn-lt"/>
              </a:rPr>
              <a:t>0,4</a:t>
            </a:r>
            <a:endParaRPr lang="it-IT" sz="1100" dirty="0">
              <a:sym typeface="+mn-lt"/>
            </a:endParaRPr>
          </a:p>
        </p:txBody>
      </p:sp>
      <p:sp>
        <p:nvSpPr>
          <p:cNvPr id="89" name="Main Content">
            <a:extLst>
              <a:ext uri="{FF2B5EF4-FFF2-40B4-BE49-F238E27FC236}">
                <a16:creationId xmlns:a16="http://schemas.microsoft.com/office/drawing/2014/main" id="{0EA807AA-B7CF-45C5-AC4A-77F8CED5C2A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537325" y="4459288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/>
              <a:t>0,0</a:t>
            </a:r>
            <a:endParaRPr lang="it-IT" sz="1100" dirty="0">
              <a:sym typeface="+mn-lt"/>
            </a:endParaRPr>
          </a:p>
        </p:txBody>
      </p:sp>
      <p:sp>
        <p:nvSpPr>
          <p:cNvPr id="88" name="Main Content">
            <a:extLst>
              <a:ext uri="{FF2B5EF4-FFF2-40B4-BE49-F238E27FC236}">
                <a16:creationId xmlns:a16="http://schemas.microsoft.com/office/drawing/2014/main" id="{CD40BB5A-40C7-4E92-999D-67CC81BC29E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537325" y="3802063"/>
            <a:ext cx="2286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sz="1100">
                <a:sym typeface="+mn-lt"/>
              </a:rPr>
              <a:t>0,2</a:t>
            </a:r>
            <a:endParaRPr lang="it-IT" sz="1100" dirty="0">
              <a:sym typeface="+mn-lt"/>
            </a:endParaRPr>
          </a:p>
        </p:txBody>
      </p:sp>
      <p:sp>
        <p:nvSpPr>
          <p:cNvPr id="101" name="Main Content">
            <a:extLst>
              <a:ext uri="{FF2B5EF4-FFF2-40B4-BE49-F238E27FC236}">
                <a16:creationId xmlns:a16="http://schemas.microsoft.com/office/drawing/2014/main" id="{CB4BCB9E-FDE5-446D-B3C2-FFD5481F0B2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870585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E53CE93-C9AC-4B5D-9BE7-3869E1618937}" type="datetime'''''''''''''''''''Q''''''''''''''''''''''4 ’14'''''''">
              <a:rPr lang="it-IT" altLang="en-US" sz="1100"/>
              <a:pPr/>
              <a:t>Q4 ’14</a:t>
            </a:fld>
            <a:endParaRPr lang="it-IT" sz="1100" dirty="0">
              <a:sym typeface="+mn-lt"/>
            </a:endParaRPr>
          </a:p>
        </p:txBody>
      </p:sp>
      <p:sp>
        <p:nvSpPr>
          <p:cNvPr id="102" name="Main Content">
            <a:extLst>
              <a:ext uri="{FF2B5EF4-FFF2-40B4-BE49-F238E27FC236}">
                <a16:creationId xmlns:a16="http://schemas.microsoft.com/office/drawing/2014/main" id="{E128F7E0-A51C-477A-A7A4-FDE769D1432D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842010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3CADEC2-6BBB-4A4F-9B09-DAC940FD051B}" type="datetime'Q''''''''''3'''''''''' ''''’''''''''''''''''''1''''4'''''''">
              <a:rPr lang="it-IT" altLang="en-US" sz="1100"/>
              <a:pPr/>
              <a:t>Q3 ’14</a:t>
            </a:fld>
            <a:endParaRPr lang="it-IT" sz="1100" dirty="0">
              <a:sym typeface="+mn-lt"/>
            </a:endParaRPr>
          </a:p>
        </p:txBody>
      </p:sp>
      <p:sp>
        <p:nvSpPr>
          <p:cNvPr id="105" name="Main Content">
            <a:extLst>
              <a:ext uri="{FF2B5EF4-FFF2-40B4-BE49-F238E27FC236}">
                <a16:creationId xmlns:a16="http://schemas.microsoft.com/office/drawing/2014/main" id="{90FE969C-9356-4439-9FCF-17BAD6B8E31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13435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C54B93F-165F-466C-96CC-93794F311DDF}" type="datetime'''''''''''''''''''Q''''''''2'''''''''''' ’''''''1''''''4'">
              <a:rPr lang="it-IT" altLang="en-US" sz="1100"/>
              <a:pPr/>
              <a:t>Q2 ’14</a:t>
            </a:fld>
            <a:endParaRPr lang="it-IT" sz="1100" dirty="0">
              <a:sym typeface="+mn-lt"/>
            </a:endParaRPr>
          </a:p>
        </p:txBody>
      </p:sp>
      <p:sp>
        <p:nvSpPr>
          <p:cNvPr id="106" name="Main Content">
            <a:extLst>
              <a:ext uri="{FF2B5EF4-FFF2-40B4-BE49-F238E27FC236}">
                <a16:creationId xmlns:a16="http://schemas.microsoft.com/office/drawing/2014/main" id="{A91F086B-0FC4-4AA6-827A-8C3312CCEB7F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85812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E774B78-E893-43EF-A7D6-066E27B92C18}" type="datetime'''''Q''''''''''''''''''1'''''''''' ''''’''''1''''''''''''''4'">
              <a:rPr lang="it-IT" altLang="en-US" sz="1100"/>
              <a:pPr/>
              <a:t>Q1 ’14</a:t>
            </a:fld>
            <a:endParaRPr lang="it-IT" sz="1100" dirty="0">
              <a:sym typeface="+mn-lt"/>
            </a:endParaRPr>
          </a:p>
        </p:txBody>
      </p:sp>
      <p:sp>
        <p:nvSpPr>
          <p:cNvPr id="107" name="Main Content">
            <a:extLst>
              <a:ext uri="{FF2B5EF4-FFF2-40B4-BE49-F238E27FC236}">
                <a16:creationId xmlns:a16="http://schemas.microsoft.com/office/drawing/2014/main" id="{95A598CB-4C24-4719-AD9E-B48E45C7ADB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757237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AE64321-ACBB-4D65-AE18-D50DDF9B262E}" type="datetime'''''''''Q''''''''4'' ''’13'''''''''''">
              <a:rPr lang="it-IT" altLang="en-US" sz="1100"/>
              <a:pPr/>
              <a:t>Q4 ’13</a:t>
            </a:fld>
            <a:endParaRPr lang="it-IT" sz="1100" dirty="0">
              <a:sym typeface="+mn-lt"/>
            </a:endParaRPr>
          </a:p>
        </p:txBody>
      </p:sp>
      <p:sp>
        <p:nvSpPr>
          <p:cNvPr id="108" name="Main Content">
            <a:extLst>
              <a:ext uri="{FF2B5EF4-FFF2-40B4-BE49-F238E27FC236}">
                <a16:creationId xmlns:a16="http://schemas.microsoft.com/office/drawing/2014/main" id="{EF9F9366-E5A5-4925-9D73-70B1813B1774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728662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40E0441-DC93-475D-B698-3E1CEFF6C4CC}" type="datetime'''''Q''''3'''' ''''’1''''''''''''''''''3'''''''''''''''''''''">
              <a:rPr lang="it-IT" altLang="en-US" sz="1100"/>
              <a:pPr/>
              <a:t>Q3 ’13</a:t>
            </a:fld>
            <a:endParaRPr lang="it-IT" sz="1100" dirty="0">
              <a:sym typeface="+mn-lt"/>
            </a:endParaRPr>
          </a:p>
        </p:txBody>
      </p:sp>
      <p:sp>
        <p:nvSpPr>
          <p:cNvPr id="109" name="Main Content">
            <a:extLst>
              <a:ext uri="{FF2B5EF4-FFF2-40B4-BE49-F238E27FC236}">
                <a16:creationId xmlns:a16="http://schemas.microsoft.com/office/drawing/2014/main" id="{8A4C6EC0-FB82-4200-B28D-B88CCD17B69C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00087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D98BE0D-A351-4538-BB58-BDCDC53C1553}" type="datetime'''Q''''''''''''''2'''' ’''1''3'''">
              <a:rPr lang="it-IT" altLang="en-US" sz="1100"/>
              <a:pPr/>
              <a:t>Q2 ’13</a:t>
            </a:fld>
            <a:endParaRPr lang="it-IT" sz="1100" dirty="0">
              <a:sym typeface="+mn-lt"/>
            </a:endParaRPr>
          </a:p>
        </p:txBody>
      </p:sp>
      <p:sp>
        <p:nvSpPr>
          <p:cNvPr id="110" name="Main Content">
            <a:extLst>
              <a:ext uri="{FF2B5EF4-FFF2-40B4-BE49-F238E27FC236}">
                <a16:creationId xmlns:a16="http://schemas.microsoft.com/office/drawing/2014/main" id="{12901095-A0AF-48BE-BE4B-079BEB52B612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71512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F7CF1C2-E4FC-425B-8E2E-4F70D30567F0}" type="datetime'Q''''1'''''''''''' ''''’''''''''1''''''3'''''''''''''''''''">
              <a:rPr lang="it-IT" altLang="en-US" sz="1100"/>
              <a:pPr/>
              <a:t>Q1 ’13</a:t>
            </a:fld>
            <a:endParaRPr lang="it-IT" sz="1100" dirty="0">
              <a:sym typeface="+mn-lt"/>
            </a:endParaRPr>
          </a:p>
        </p:txBody>
      </p:sp>
      <p:sp>
        <p:nvSpPr>
          <p:cNvPr id="99" name="Main Content">
            <a:extLst>
              <a:ext uri="{FF2B5EF4-FFF2-40B4-BE49-F238E27FC236}">
                <a16:creationId xmlns:a16="http://schemas.microsoft.com/office/drawing/2014/main" id="{99EAE4F4-D221-4B3E-9D40-C456FF230D21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927735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A582A28-1FF5-4FA9-9571-9202ECD0C563}" type="datetime'Q''''''''''''''''''''''2'''''''''''''' ’1''5'''''''">
              <a:rPr lang="it-IT" altLang="en-US" sz="1100"/>
              <a:pPr/>
              <a:t>Q2 ’15</a:t>
            </a:fld>
            <a:endParaRPr lang="it-IT" sz="1100" dirty="0">
              <a:sym typeface="+mn-lt"/>
            </a:endParaRPr>
          </a:p>
        </p:txBody>
      </p:sp>
      <p:sp>
        <p:nvSpPr>
          <p:cNvPr id="98" name="Main Content">
            <a:extLst>
              <a:ext uri="{FF2B5EF4-FFF2-40B4-BE49-F238E27FC236}">
                <a16:creationId xmlns:a16="http://schemas.microsoft.com/office/drawing/2014/main" id="{16B0A55E-C8B0-4A00-99B1-9CE68D766EB9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956310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F5BFE23-B56D-482E-B000-EBEE712BDE67}" type="datetime'''''Q''''''3'''''' ''''''''’''1''''5'''''''">
              <a:rPr lang="it-IT" altLang="en-US" sz="1100"/>
              <a:pPr/>
              <a:t>Q3 ’15</a:t>
            </a:fld>
            <a:endParaRPr lang="it-IT" sz="1100" dirty="0">
              <a:sym typeface="+mn-lt"/>
            </a:endParaRPr>
          </a:p>
        </p:txBody>
      </p:sp>
      <p:sp>
        <p:nvSpPr>
          <p:cNvPr id="97" name="Main Content">
            <a:extLst>
              <a:ext uri="{FF2B5EF4-FFF2-40B4-BE49-F238E27FC236}">
                <a16:creationId xmlns:a16="http://schemas.microsoft.com/office/drawing/2014/main" id="{C25F20B5-2E8D-4B22-A155-3956AEB40A1F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84885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FEC6FAC-6389-4DF6-8CDD-65BAA2F979D5}" type="datetime'''''''''''Q''''4'''''' ''''''''''’''''15'">
              <a:rPr lang="it-IT" altLang="en-US" sz="1100"/>
              <a:pPr/>
              <a:t>Q4 ’15</a:t>
            </a:fld>
            <a:endParaRPr lang="it-IT" sz="1100" dirty="0">
              <a:sym typeface="+mn-lt"/>
            </a:endParaRPr>
          </a:p>
        </p:txBody>
      </p:sp>
      <p:sp>
        <p:nvSpPr>
          <p:cNvPr id="93" name="Main Content">
            <a:extLst>
              <a:ext uri="{FF2B5EF4-FFF2-40B4-BE49-F238E27FC236}">
                <a16:creationId xmlns:a16="http://schemas.microsoft.com/office/drawing/2014/main" id="{7941A578-70DB-46F3-82CD-93932CAC8C94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098232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9F4DE2A-F5FA-44FD-B35F-9D859E44AB5B}" type="datetime'''''''''Q''4'''''''' ''''''''’''''1''''''''''''''''''''6'''">
              <a:rPr lang="it-IT" altLang="en-US" sz="1100"/>
              <a:pPr/>
              <a:t>Q4 ’16</a:t>
            </a:fld>
            <a:endParaRPr lang="it-IT" sz="1100" dirty="0">
              <a:sym typeface="+mn-lt"/>
            </a:endParaRPr>
          </a:p>
        </p:txBody>
      </p:sp>
      <p:sp>
        <p:nvSpPr>
          <p:cNvPr id="91" name="Main Content">
            <a:extLst>
              <a:ext uri="{FF2B5EF4-FFF2-40B4-BE49-F238E27FC236}">
                <a16:creationId xmlns:a16="http://schemas.microsoft.com/office/drawing/2014/main" id="{6FE8D3B0-2F73-4417-98BB-AEECE44402FC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155382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BACC68B-0799-4EC1-A281-7BB48C16BFB5}" type="datetime'''''Q2'''' ''''''’1''''''''''''''7'''''''''''''''''''''">
              <a:rPr lang="it-IT" altLang="en-US" sz="1100"/>
              <a:pPr/>
              <a:t>Q2 ’17</a:t>
            </a:fld>
            <a:endParaRPr lang="it-IT" sz="1100" dirty="0">
              <a:sym typeface="+mn-lt"/>
            </a:endParaRPr>
          </a:p>
        </p:txBody>
      </p:sp>
      <p:sp>
        <p:nvSpPr>
          <p:cNvPr id="92" name="Main Content">
            <a:extLst>
              <a:ext uri="{FF2B5EF4-FFF2-40B4-BE49-F238E27FC236}">
                <a16:creationId xmlns:a16="http://schemas.microsoft.com/office/drawing/2014/main" id="{DDB97F59-0AB9-44B4-A190-70AF002AD7FC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126807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C51D89-13E6-4984-ADEE-44D66242BE1F}" type="datetime'''Q1'''''''''' ''''''''''''''’''''''1''''''7'''''''''''''">
              <a:rPr lang="it-IT" altLang="en-US" sz="1100"/>
              <a:pPr/>
              <a:t>Q1 ’17</a:t>
            </a:fld>
            <a:endParaRPr lang="it-IT" sz="1100" dirty="0">
              <a:sym typeface="+mn-lt"/>
            </a:endParaRPr>
          </a:p>
        </p:txBody>
      </p:sp>
      <p:sp>
        <p:nvSpPr>
          <p:cNvPr id="96" name="Main Content">
            <a:extLst>
              <a:ext uri="{FF2B5EF4-FFF2-40B4-BE49-F238E27FC236}">
                <a16:creationId xmlns:a16="http://schemas.microsoft.com/office/drawing/2014/main" id="{51DBDA28-4D65-4CAB-ADD0-0BB6101C4EBD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13460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4965E60-F30C-4212-B8FD-E3B0B1AF3E0E}" type="datetime'''''''''''Q''''''''''''''''''1'' ''''’16'''''''''''''''">
              <a:rPr lang="it-IT" altLang="en-US" sz="1100"/>
              <a:pPr/>
              <a:t>Q1 ’16</a:t>
            </a:fld>
            <a:endParaRPr lang="it-IT" sz="1100" dirty="0">
              <a:sym typeface="+mn-lt"/>
            </a:endParaRPr>
          </a:p>
        </p:txBody>
      </p:sp>
      <p:sp>
        <p:nvSpPr>
          <p:cNvPr id="95" name="Main Content">
            <a:extLst>
              <a:ext uri="{FF2B5EF4-FFF2-40B4-BE49-F238E27FC236}">
                <a16:creationId xmlns:a16="http://schemas.microsoft.com/office/drawing/2014/main" id="{484DB438-B367-447A-A914-D2242AD808B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041082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34BCC04-7464-4BC8-9608-28DD53ED7B58}" type="datetime'Q''''''''2 ''''''''''''''''’''''''''''''1''''''''''6'''''">
              <a:rPr lang="it-IT" altLang="en-US" sz="1100"/>
              <a:pPr/>
              <a:t>Q2 ’16</a:t>
            </a:fld>
            <a:endParaRPr lang="it-IT" sz="1100" dirty="0">
              <a:sym typeface="+mn-lt"/>
            </a:endParaRPr>
          </a:p>
        </p:txBody>
      </p:sp>
      <p:sp>
        <p:nvSpPr>
          <p:cNvPr id="94" name="Main Content">
            <a:extLst>
              <a:ext uri="{FF2B5EF4-FFF2-40B4-BE49-F238E27FC236}">
                <a16:creationId xmlns:a16="http://schemas.microsoft.com/office/drawing/2014/main" id="{1A1EE801-0D23-482D-ACD4-76E5F921137A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696575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D73C199-8D48-4921-A2E6-978A22E2F8D1}" type="datetime'''''''''''''''''Q''3'''''' ''''''''’1''''''''''6'''''''''''''">
              <a:rPr lang="it-IT" altLang="en-US" sz="1100"/>
              <a:pPr/>
              <a:t>Q3 ’16</a:t>
            </a:fld>
            <a:endParaRPr lang="it-IT" sz="1100" dirty="0">
              <a:sym typeface="+mn-lt"/>
            </a:endParaRPr>
          </a:p>
        </p:txBody>
      </p:sp>
      <p:sp>
        <p:nvSpPr>
          <p:cNvPr id="100" name="Main Content">
            <a:extLst>
              <a:ext uri="{FF2B5EF4-FFF2-40B4-BE49-F238E27FC236}">
                <a16:creationId xmlns:a16="http://schemas.microsoft.com/office/drawing/2014/main" id="{7DCE0A05-4973-49B7-937E-15881E0D982A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991600" y="4624388"/>
            <a:ext cx="22860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1D7A59B-6B8D-4096-9DD6-34E51F904CB3}" type="datetime'''''''''''''Q''''''''''''1'' ''''’''''''''''''''1''5'''">
              <a:rPr lang="it-IT" altLang="en-US" sz="1100"/>
              <a:pPr/>
              <a:t>Q1 ’15</a:t>
            </a:fld>
            <a:endParaRPr lang="it-IT" sz="1100" dirty="0">
              <a:sym typeface="+mn-lt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D7EE992C-5FBB-41C8-B4D1-CCBB86B5F201}"/>
              </a:ext>
            </a:extLst>
          </p:cNvPr>
          <p:cNvSpPr/>
          <p:nvPr/>
        </p:nvSpPr>
        <p:spPr bwMode="gray">
          <a:xfrm rot="16200000">
            <a:off x="-572495" y="3143043"/>
            <a:ext cx="2081647" cy="26827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r>
              <a:rPr lang="it-IT" b="1" dirty="0"/>
              <a:t>Indice 1 </a:t>
            </a:r>
            <a:r>
              <a:rPr lang="it-IT" dirty="0"/>
              <a:t>(km, milioni)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C7A3177-108B-4711-8506-1141B47551AA}"/>
              </a:ext>
            </a:extLst>
          </p:cNvPr>
          <p:cNvSpPr/>
          <p:nvPr/>
        </p:nvSpPr>
        <p:spPr bwMode="gray">
          <a:xfrm rot="16200000">
            <a:off x="5320306" y="3143044"/>
            <a:ext cx="2081647" cy="26827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  <a:spcAft>
                <a:spcPts val="0"/>
              </a:spcAft>
            </a:pPr>
            <a:r>
              <a:rPr lang="it-IT" b="1" dirty="0"/>
              <a:t>Indice 2 </a:t>
            </a:r>
            <a:r>
              <a:rPr lang="it-IT" dirty="0"/>
              <a:t>(%)</a:t>
            </a:r>
          </a:p>
        </p:txBody>
      </p:sp>
    </p:spTree>
    <p:extLst>
      <p:ext uri="{BB962C8B-B14F-4D97-AF65-F5344CB8AC3E}">
        <p14:creationId xmlns:p14="http://schemas.microsoft.com/office/powerpoint/2010/main" val="39617397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50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8301" y="423158"/>
            <a:ext cx="11448000" cy="719842"/>
          </a:xfrm>
        </p:spPr>
        <p:txBody>
          <a:bodyPr/>
          <a:lstStyle/>
          <a:p>
            <a:r>
              <a:rPr lang="it-IT" dirty="0"/>
              <a:t>Indice 1: Cina in testa con il maggior numero di chilometri elettrici venduti, seguita da USA e Norvegi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68301" y="6164264"/>
            <a:ext cx="11448000" cy="171735"/>
          </a:xfrm>
        </p:spPr>
        <p:txBody>
          <a:bodyPr/>
          <a:lstStyle/>
          <a:p>
            <a:r>
              <a:rPr lang="en-GB" sz="1000" dirty="0"/>
              <a:t>Fonti: IHS </a:t>
            </a:r>
            <a:r>
              <a:rPr lang="en-GB" sz="1000" dirty="0" err="1"/>
              <a:t>Markit</a:t>
            </a:r>
            <a:r>
              <a:rPr lang="en-GB" sz="1000" dirty="0"/>
              <a:t>, EV-volumes.com, </a:t>
            </a:r>
            <a:r>
              <a:rPr lang="en-GB" sz="1000" dirty="0" err="1"/>
              <a:t>stime</a:t>
            </a:r>
            <a:r>
              <a:rPr lang="en-GB" sz="1000" dirty="0"/>
              <a:t> AlixPartners</a:t>
            </a:r>
          </a:p>
        </p:txBody>
      </p:sp>
      <p:sp>
        <p:nvSpPr>
          <p:cNvPr id="60" name="SubHeaderV">
            <a:extLst>
              <a:ext uri="{FF2B5EF4-FFF2-40B4-BE49-F238E27FC236}">
                <a16:creationId xmlns:a16="http://schemas.microsoft.com/office/drawing/2014/main" id="{3AA9D354-DA7D-4C07-95A2-EE21BAF161E8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68301" y="1149627"/>
            <a:ext cx="11448000" cy="30611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pPr>
              <a:spcAft>
                <a:spcPts val="400"/>
              </a:spcAft>
            </a:pPr>
            <a:r>
              <a:rPr lang="it-IT" sz="1150" dirty="0"/>
              <a:t>Indice 1 = ∑</a:t>
            </a:r>
            <a:r>
              <a:rPr lang="it-IT" sz="1150" baseline="-25000" dirty="0"/>
              <a:t>tutti i tipi di veicoli </a:t>
            </a:r>
            <a:r>
              <a:rPr lang="it-IT" sz="1150" dirty="0"/>
              <a:t>Numero di veicoli elettrici venduti * Autonomia elettrica (km) senza supporto di combustione interna </a:t>
            </a:r>
          </a:p>
        </p:txBody>
      </p:sp>
      <p:graphicFrame>
        <p:nvGraphicFramePr>
          <p:cNvPr id="79" name="Table 78">
            <a:extLst>
              <a:ext uri="{FF2B5EF4-FFF2-40B4-BE49-F238E27FC236}">
                <a16:creationId xmlns:a16="http://schemas.microsoft.com/office/drawing/2014/main" id="{C4151202-CDBE-4DFF-8C0C-18DAD79406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3298043"/>
              </p:ext>
            </p:extLst>
          </p:nvPr>
        </p:nvGraphicFramePr>
        <p:xfrm>
          <a:off x="368301" y="1689100"/>
          <a:ext cx="3734643" cy="4181760"/>
        </p:xfrm>
        <a:graphic>
          <a:graphicData uri="http://schemas.openxmlformats.org/drawingml/2006/table">
            <a:tbl>
              <a:tblPr firstRow="1" bandRow="1">
                <a:tableStyleId>{EBB1D203-1372-4C57-B10A-E3B16F0ECCC6}</a:tableStyleId>
              </a:tblPr>
              <a:tblGrid>
                <a:gridCol w="620509">
                  <a:extLst>
                    <a:ext uri="{9D8B030D-6E8A-4147-A177-3AD203B41FA5}">
                      <a16:colId xmlns:a16="http://schemas.microsoft.com/office/drawing/2014/main" val="2554407371"/>
                    </a:ext>
                  </a:extLst>
                </a:gridCol>
                <a:gridCol w="733974">
                  <a:extLst>
                    <a:ext uri="{9D8B030D-6E8A-4147-A177-3AD203B41FA5}">
                      <a16:colId xmlns:a16="http://schemas.microsoft.com/office/drawing/2014/main" val="1851822592"/>
                    </a:ext>
                  </a:extLst>
                </a:gridCol>
                <a:gridCol w="643749">
                  <a:extLst>
                    <a:ext uri="{9D8B030D-6E8A-4147-A177-3AD203B41FA5}">
                      <a16:colId xmlns:a16="http://schemas.microsoft.com/office/drawing/2014/main" val="148519809"/>
                    </a:ext>
                  </a:extLst>
                </a:gridCol>
                <a:gridCol w="591118">
                  <a:extLst>
                    <a:ext uri="{9D8B030D-6E8A-4147-A177-3AD203B41FA5}">
                      <a16:colId xmlns:a16="http://schemas.microsoft.com/office/drawing/2014/main" val="40221412"/>
                    </a:ext>
                  </a:extLst>
                </a:gridCol>
                <a:gridCol w="554175">
                  <a:extLst>
                    <a:ext uri="{9D8B030D-6E8A-4147-A177-3AD203B41FA5}">
                      <a16:colId xmlns:a16="http://schemas.microsoft.com/office/drawing/2014/main" val="3572060527"/>
                    </a:ext>
                  </a:extLst>
                </a:gridCol>
                <a:gridCol w="591118">
                  <a:extLst>
                    <a:ext uri="{9D8B030D-6E8A-4147-A177-3AD203B41FA5}">
                      <a16:colId xmlns:a16="http://schemas.microsoft.com/office/drawing/2014/main" val="709361971"/>
                    </a:ext>
                  </a:extLst>
                </a:gridCol>
              </a:tblGrid>
              <a:tr h="313402">
                <a:tc>
                  <a:txBody>
                    <a:bodyPr/>
                    <a:lstStyle/>
                    <a:p>
                      <a:pPr marL="0" marR="0" lvl="0" indent="0" algn="ct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</a:t>
                      </a:r>
                    </a:p>
                  </a:txBody>
                  <a:tcPr marL="18000" marR="18000" marT="18000" marB="18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untry</a:t>
                      </a:r>
                    </a:p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2 ’17</a:t>
                      </a: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dex 1</a:t>
                      </a:r>
                    </a:p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km, Millions)</a:t>
                      </a: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 EV sold</a:t>
                      </a: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V sold (%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erage range (km)</a:t>
                      </a:r>
                    </a:p>
                  </a:txBody>
                  <a:tcPr marL="18000" marR="18000" marT="18000" marB="18000" anchor="b"/>
                </a:tc>
                <a:extLst>
                  <a:ext uri="{0D108BD9-81ED-4DB2-BD59-A6C34878D82A}">
                    <a16:rowId xmlns:a16="http://schemas.microsoft.com/office/drawing/2014/main" val="185708074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in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.4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1,18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9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130678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nited States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.04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7,97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0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605116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orway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8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,94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9.0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71909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rance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5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,14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4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71802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rmany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,20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1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6116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apan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52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,27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2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62665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K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43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,16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5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994533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anad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82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,39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7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527408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etherlands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6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969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5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2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537699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weden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5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,479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7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201712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uth Kore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56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,775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59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02238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ustr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5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77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6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8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9063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witzerland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4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62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7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1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243852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elgium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4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,28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40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8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0948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pain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2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68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4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7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956895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taly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2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33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2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3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165016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ustral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4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48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680967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ortugal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5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2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8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880754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kraine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9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6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3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130586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inland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6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8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3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193875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celand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3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.4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5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1902212"/>
                  </a:ext>
                </a:extLst>
              </a:tr>
            </a:tbl>
          </a:graphicData>
        </a:graphic>
      </p:graphicFrame>
      <p:graphicFrame>
        <p:nvGraphicFramePr>
          <p:cNvPr id="111" name="Table 110">
            <a:extLst>
              <a:ext uri="{FF2B5EF4-FFF2-40B4-BE49-F238E27FC236}">
                <a16:creationId xmlns:a16="http://schemas.microsoft.com/office/drawing/2014/main" id="{B9C57E8A-5418-494E-8DF8-25CFAEFB80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6427010"/>
              </p:ext>
            </p:extLst>
          </p:nvPr>
        </p:nvGraphicFramePr>
        <p:xfrm>
          <a:off x="4195485" y="1689100"/>
          <a:ext cx="3643456" cy="4181760"/>
        </p:xfrm>
        <a:graphic>
          <a:graphicData uri="http://schemas.openxmlformats.org/drawingml/2006/table">
            <a:tbl>
              <a:tblPr firstRow="1" bandRow="1">
                <a:tableStyleId>{EBB1D203-1372-4C57-B10A-E3B16F0ECCC6}</a:tableStyleId>
              </a:tblPr>
              <a:tblGrid>
                <a:gridCol w="557869">
                  <a:extLst>
                    <a:ext uri="{9D8B030D-6E8A-4147-A177-3AD203B41FA5}">
                      <a16:colId xmlns:a16="http://schemas.microsoft.com/office/drawing/2014/main" val="2554407371"/>
                    </a:ext>
                  </a:extLst>
                </a:gridCol>
                <a:gridCol w="838012">
                  <a:extLst>
                    <a:ext uri="{9D8B030D-6E8A-4147-A177-3AD203B41FA5}">
                      <a16:colId xmlns:a16="http://schemas.microsoft.com/office/drawing/2014/main" val="1851822592"/>
                    </a:ext>
                  </a:extLst>
                </a:gridCol>
                <a:gridCol w="602841">
                  <a:extLst>
                    <a:ext uri="{9D8B030D-6E8A-4147-A177-3AD203B41FA5}">
                      <a16:colId xmlns:a16="http://schemas.microsoft.com/office/drawing/2014/main" val="148519809"/>
                    </a:ext>
                  </a:extLst>
                </a:gridCol>
                <a:gridCol w="563752">
                  <a:extLst>
                    <a:ext uri="{9D8B030D-6E8A-4147-A177-3AD203B41FA5}">
                      <a16:colId xmlns:a16="http://schemas.microsoft.com/office/drawing/2014/main" val="40221412"/>
                    </a:ext>
                  </a:extLst>
                </a:gridCol>
                <a:gridCol w="517230">
                  <a:extLst>
                    <a:ext uri="{9D8B030D-6E8A-4147-A177-3AD203B41FA5}">
                      <a16:colId xmlns:a16="http://schemas.microsoft.com/office/drawing/2014/main" val="3572060527"/>
                    </a:ext>
                  </a:extLst>
                </a:gridCol>
                <a:gridCol w="563752">
                  <a:extLst>
                    <a:ext uri="{9D8B030D-6E8A-4147-A177-3AD203B41FA5}">
                      <a16:colId xmlns:a16="http://schemas.microsoft.com/office/drawing/2014/main" val="709361971"/>
                    </a:ext>
                  </a:extLst>
                </a:gridCol>
              </a:tblGrid>
              <a:tr h="347385">
                <a:tc>
                  <a:txBody>
                    <a:bodyPr/>
                    <a:lstStyle/>
                    <a:p>
                      <a:pPr marL="0" marR="0" lvl="0" indent="0" algn="ct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</a:t>
                      </a: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untry </a:t>
                      </a:r>
                    </a:p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2 ’17</a:t>
                      </a: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dex 1</a:t>
                      </a:r>
                    </a:p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km, Millions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 EV sold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V sold (%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erage range (km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b"/>
                </a:tc>
                <a:extLst>
                  <a:ext uri="{0D108BD9-81ED-4DB2-BD59-A6C34878D82A}">
                    <a16:rowId xmlns:a16="http://schemas.microsoft.com/office/drawing/2014/main" val="185708074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d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3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707047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UAE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2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5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185884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ew Zealand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6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468540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uxembourg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9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8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231957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oland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21461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nmark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3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111233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exico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8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99053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loven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3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4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943194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ingapore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3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8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325194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uss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5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953753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ungary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1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980713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ong Kong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78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311905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reland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0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396443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zech Republic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5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767020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lovak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44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426161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aiwan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10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72009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lays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6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24903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atv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6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5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544999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urkey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6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959925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uth Africa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7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806594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srael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7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1682385"/>
                  </a:ext>
                </a:extLst>
              </a:tr>
            </a:tbl>
          </a:graphicData>
        </a:graphic>
      </p:graphicFrame>
      <p:graphicFrame>
        <p:nvGraphicFramePr>
          <p:cNvPr id="112" name="Table 111">
            <a:extLst>
              <a:ext uri="{FF2B5EF4-FFF2-40B4-BE49-F238E27FC236}">
                <a16:creationId xmlns:a16="http://schemas.microsoft.com/office/drawing/2014/main" id="{D576B9A8-962B-4F8B-8E7F-01C92D6850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2848420"/>
              </p:ext>
            </p:extLst>
          </p:nvPr>
        </p:nvGraphicFramePr>
        <p:xfrm>
          <a:off x="7931483" y="1689100"/>
          <a:ext cx="3884818" cy="4001760"/>
        </p:xfrm>
        <a:graphic>
          <a:graphicData uri="http://schemas.openxmlformats.org/drawingml/2006/table">
            <a:tbl>
              <a:tblPr firstRow="1" bandRow="1">
                <a:tableStyleId>{EBB1D203-1372-4C57-B10A-E3B16F0ECCC6}</a:tableStyleId>
              </a:tblPr>
              <a:tblGrid>
                <a:gridCol w="557869">
                  <a:extLst>
                    <a:ext uri="{9D8B030D-6E8A-4147-A177-3AD203B41FA5}">
                      <a16:colId xmlns:a16="http://schemas.microsoft.com/office/drawing/2014/main" val="2554407371"/>
                    </a:ext>
                  </a:extLst>
                </a:gridCol>
                <a:gridCol w="849734">
                  <a:extLst>
                    <a:ext uri="{9D8B030D-6E8A-4147-A177-3AD203B41FA5}">
                      <a16:colId xmlns:a16="http://schemas.microsoft.com/office/drawing/2014/main" val="1851822592"/>
                    </a:ext>
                  </a:extLst>
                </a:gridCol>
                <a:gridCol w="665009">
                  <a:extLst>
                    <a:ext uri="{9D8B030D-6E8A-4147-A177-3AD203B41FA5}">
                      <a16:colId xmlns:a16="http://schemas.microsoft.com/office/drawing/2014/main" val="148519809"/>
                    </a:ext>
                  </a:extLst>
                </a:gridCol>
                <a:gridCol w="666913">
                  <a:extLst>
                    <a:ext uri="{9D8B030D-6E8A-4147-A177-3AD203B41FA5}">
                      <a16:colId xmlns:a16="http://schemas.microsoft.com/office/drawing/2014/main" val="40221412"/>
                    </a:ext>
                  </a:extLst>
                </a:gridCol>
                <a:gridCol w="554175">
                  <a:extLst>
                    <a:ext uri="{9D8B030D-6E8A-4147-A177-3AD203B41FA5}">
                      <a16:colId xmlns:a16="http://schemas.microsoft.com/office/drawing/2014/main" val="3572060527"/>
                    </a:ext>
                  </a:extLst>
                </a:gridCol>
                <a:gridCol w="591118">
                  <a:extLst>
                    <a:ext uri="{9D8B030D-6E8A-4147-A177-3AD203B41FA5}">
                      <a16:colId xmlns:a16="http://schemas.microsoft.com/office/drawing/2014/main" val="709361971"/>
                    </a:ext>
                  </a:extLst>
                </a:gridCol>
              </a:tblGrid>
              <a:tr h="317520">
                <a:tc>
                  <a:txBody>
                    <a:bodyPr/>
                    <a:lstStyle/>
                    <a:p>
                      <a:pPr marL="0" marR="0" lvl="0" indent="0" algn="ct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</a:t>
                      </a: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untry </a:t>
                      </a:r>
                    </a:p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2 ’17</a:t>
                      </a: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dex 1</a:t>
                      </a:r>
                    </a:p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km, Millions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 EV sold</a:t>
                      </a: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V sold (%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erage range (km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b"/>
                </a:tc>
                <a:extLst>
                  <a:ext uri="{0D108BD9-81ED-4DB2-BD59-A6C34878D82A}">
                    <a16:rowId xmlns:a16="http://schemas.microsoft.com/office/drawing/2014/main" val="185708074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3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yprus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6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4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9321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ithuania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3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684133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hile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577702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donesia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5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054508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oman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736274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on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228233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reece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5404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lomb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647265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razil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72477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ailand</a:t>
                      </a: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632872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ulgar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390780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ermud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73662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sta Ric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567217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roat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849823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cuador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221956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lt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138875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rocco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640946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uerto Rico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</a:p>
                  </a:txBody>
                  <a:tcPr marL="18000" marR="18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630236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1</a:t>
                      </a:r>
                    </a:p>
                  </a:txBody>
                  <a:tcPr marL="18000" marR="18000" marT="18000" marB="18000" anchor="ctr">
                    <a:lnB w="9525" cmpd="sng">
                      <a:noFill/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udi Arabi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lnB w="9525" cmpd="sng">
                      <a:noFill/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lnB w="9525" cmpd="sng">
                      <a:noFill/>
                      <a:prstDash val="dot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lnB w="9525" cmpd="sng">
                      <a:noFill/>
                      <a:prstDash val="dot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ctr">
                    <a:lnB w="9525" cmpd="sng">
                      <a:noFill/>
                      <a:prstDash val="dot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</a:p>
                  </a:txBody>
                  <a:tcPr marL="18000" marR="18000" marT="18000" marB="18000" anchor="ctr">
                    <a:lnB w="9525" cmpd="sng">
                      <a:noFill/>
                      <a:prstDash val="dot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630698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 eaLnBrk="1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18000" marR="18000" marT="18000" marB="18000" anchor="b">
                    <a:lnL w="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lobal</a:t>
                      </a:r>
                    </a:p>
                  </a:txBody>
                  <a:tcPr marL="18000" marR="18000" marT="18000" marB="18000" anchor="b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7.47</a:t>
                      </a:r>
                    </a:p>
                  </a:txBody>
                  <a:tcPr marL="18000" marR="18000" marT="18000" marB="18000" anchor="b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0,411</a:t>
                      </a:r>
                    </a:p>
                  </a:txBody>
                  <a:tcPr marL="18000" marR="18000" marT="18000" marB="18000" anchor="b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19</a:t>
                      </a:r>
                    </a:p>
                  </a:txBody>
                  <a:tcPr marL="18000" marR="18000" marT="18000" marB="18000" anchor="b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2</a:t>
                      </a:r>
                    </a:p>
                  </a:txBody>
                  <a:tcPr marL="18000" marR="18000" marT="18000" marB="18000" anchor="b">
                    <a:lnL w="19050" cmpd="sng">
                      <a:noFill/>
                    </a:lnL>
                    <a:lnR w="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4273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68100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8301" y="423158"/>
            <a:ext cx="11448000" cy="719842"/>
          </a:xfrm>
        </p:spPr>
        <p:txBody>
          <a:bodyPr/>
          <a:lstStyle/>
          <a:p>
            <a:r>
              <a:rPr lang="it-IT" dirty="0"/>
              <a:t>Indice 1: Tesla prima per chilometri elettrici venduti, seguita da Renault/Nissan, BYD, BAIC e G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68301" y="6164264"/>
            <a:ext cx="11448000" cy="171735"/>
          </a:xfrm>
        </p:spPr>
        <p:txBody>
          <a:bodyPr/>
          <a:lstStyle/>
          <a:p>
            <a:r>
              <a:rPr lang="en-GB" sz="1000" dirty="0"/>
              <a:t>Fonti: IHS </a:t>
            </a:r>
            <a:r>
              <a:rPr lang="en-GB" sz="1000" dirty="0" err="1"/>
              <a:t>Markit</a:t>
            </a:r>
            <a:r>
              <a:rPr lang="en-GB" sz="1000" dirty="0"/>
              <a:t>, EV-volumes.com, </a:t>
            </a:r>
            <a:r>
              <a:rPr lang="en-GB" sz="1000" dirty="0" err="1"/>
              <a:t>stime</a:t>
            </a:r>
            <a:r>
              <a:rPr lang="en-GB" sz="1000" dirty="0"/>
              <a:t> AlixPartners</a:t>
            </a:r>
          </a:p>
        </p:txBody>
      </p:sp>
      <p:sp>
        <p:nvSpPr>
          <p:cNvPr id="60" name="SubHeaderV">
            <a:extLst>
              <a:ext uri="{FF2B5EF4-FFF2-40B4-BE49-F238E27FC236}">
                <a16:creationId xmlns:a16="http://schemas.microsoft.com/office/drawing/2014/main" id="{3AA9D354-DA7D-4C07-95A2-EE21BAF161E8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68301" y="1149627"/>
            <a:ext cx="11014074" cy="30611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pPr>
              <a:spcAft>
                <a:spcPts val="400"/>
              </a:spcAft>
            </a:pPr>
            <a:r>
              <a:rPr lang="it-IT" sz="1150" dirty="0"/>
              <a:t>Indice 1 = ∑</a:t>
            </a:r>
            <a:r>
              <a:rPr lang="it-IT" sz="1150" baseline="-25000" dirty="0"/>
              <a:t>tutti i tipi di veicoli </a:t>
            </a:r>
            <a:r>
              <a:rPr lang="it-IT" sz="1150" dirty="0"/>
              <a:t>Numero di veicoli elettrici venduti * Autonomia elettrica (km) senza supporto di combustione interna 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15470B8-4C95-4A33-855B-CE5EE28F8F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980121"/>
              </p:ext>
            </p:extLst>
          </p:nvPr>
        </p:nvGraphicFramePr>
        <p:xfrm>
          <a:off x="368300" y="1689100"/>
          <a:ext cx="5587999" cy="4388160"/>
        </p:xfrm>
        <a:graphic>
          <a:graphicData uri="http://schemas.openxmlformats.org/drawingml/2006/table">
            <a:tbl>
              <a:tblPr firstRow="1" bandRow="1">
                <a:tableStyleId>{EBB1D203-1372-4C57-B10A-E3B16F0ECCC6}</a:tableStyleId>
              </a:tblPr>
              <a:tblGrid>
                <a:gridCol w="769506">
                  <a:extLst>
                    <a:ext uri="{9D8B030D-6E8A-4147-A177-3AD203B41FA5}">
                      <a16:colId xmlns:a16="http://schemas.microsoft.com/office/drawing/2014/main" val="2554407371"/>
                    </a:ext>
                  </a:extLst>
                </a:gridCol>
                <a:gridCol w="1525565">
                  <a:extLst>
                    <a:ext uri="{9D8B030D-6E8A-4147-A177-3AD203B41FA5}">
                      <a16:colId xmlns:a16="http://schemas.microsoft.com/office/drawing/2014/main" val="1851822592"/>
                    </a:ext>
                  </a:extLst>
                </a:gridCol>
                <a:gridCol w="898072">
                  <a:extLst>
                    <a:ext uri="{9D8B030D-6E8A-4147-A177-3AD203B41FA5}">
                      <a16:colId xmlns:a16="http://schemas.microsoft.com/office/drawing/2014/main" val="148519809"/>
                    </a:ext>
                  </a:extLst>
                </a:gridCol>
                <a:gridCol w="798285">
                  <a:extLst>
                    <a:ext uri="{9D8B030D-6E8A-4147-A177-3AD203B41FA5}">
                      <a16:colId xmlns:a16="http://schemas.microsoft.com/office/drawing/2014/main" val="40221412"/>
                    </a:ext>
                  </a:extLst>
                </a:gridCol>
                <a:gridCol w="698943">
                  <a:extLst>
                    <a:ext uri="{9D8B030D-6E8A-4147-A177-3AD203B41FA5}">
                      <a16:colId xmlns:a16="http://schemas.microsoft.com/office/drawing/2014/main" val="3572060527"/>
                    </a:ext>
                  </a:extLst>
                </a:gridCol>
                <a:gridCol w="897628">
                  <a:extLst>
                    <a:ext uri="{9D8B030D-6E8A-4147-A177-3AD203B41FA5}">
                      <a16:colId xmlns:a16="http://schemas.microsoft.com/office/drawing/2014/main" val="709361971"/>
                    </a:ext>
                  </a:extLst>
                </a:gridCol>
              </a:tblGrid>
              <a:tr h="226080">
                <a:tc>
                  <a:txBody>
                    <a:bodyPr/>
                    <a:lstStyle/>
                    <a:p>
                      <a:pPr marL="0" marR="0" lvl="0" indent="0" algn="ct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EM </a:t>
                      </a:r>
                    </a:p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2 ’17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dex 1</a:t>
                      </a:r>
                    </a:p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km, Millions)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 EV sold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V </a:t>
                      </a:r>
                      <a:b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ld (%)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erage </a:t>
                      </a:r>
                      <a:b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ange (km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85708074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sl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.6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,74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8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130678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nault/Nissan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,74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7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182514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YD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.3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,54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.6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203020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AIC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,45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.8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66173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neral Motors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6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,34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8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75695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ely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,62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2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37551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MW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03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,02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2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661279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Zhidou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,89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62359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ianghuai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9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,774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6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4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44972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yundai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8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,28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5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51813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olkswagen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6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,17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6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939415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yot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2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,862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7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719477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hery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2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,28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.9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65908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Zotye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2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,15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.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505454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iangling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73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,9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.1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014439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hangan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7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,8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9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253170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S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5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82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9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8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6663105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imler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4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,12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1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949594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ongfeng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,411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32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067333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itsubishi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,73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2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944437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IC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2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,17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.00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4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710731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A3D52202-1ECF-448F-B57D-E91E9F0E90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7642180"/>
              </p:ext>
            </p:extLst>
          </p:nvPr>
        </p:nvGraphicFramePr>
        <p:xfrm>
          <a:off x="6235701" y="1689100"/>
          <a:ext cx="5589589" cy="2836800"/>
        </p:xfrm>
        <a:graphic>
          <a:graphicData uri="http://schemas.openxmlformats.org/drawingml/2006/table">
            <a:tbl>
              <a:tblPr firstRow="1" bandRow="1">
                <a:tableStyleId>{EBB1D203-1372-4C57-B10A-E3B16F0ECCC6}</a:tableStyleId>
              </a:tblPr>
              <a:tblGrid>
                <a:gridCol w="766400">
                  <a:extLst>
                    <a:ext uri="{9D8B030D-6E8A-4147-A177-3AD203B41FA5}">
                      <a16:colId xmlns:a16="http://schemas.microsoft.com/office/drawing/2014/main" val="2554407371"/>
                    </a:ext>
                  </a:extLst>
                </a:gridCol>
                <a:gridCol w="1622314">
                  <a:extLst>
                    <a:ext uri="{9D8B030D-6E8A-4147-A177-3AD203B41FA5}">
                      <a16:colId xmlns:a16="http://schemas.microsoft.com/office/drawing/2014/main" val="1851822592"/>
                    </a:ext>
                  </a:extLst>
                </a:gridCol>
                <a:gridCol w="868271">
                  <a:extLst>
                    <a:ext uri="{9D8B030D-6E8A-4147-A177-3AD203B41FA5}">
                      <a16:colId xmlns:a16="http://schemas.microsoft.com/office/drawing/2014/main" val="148519809"/>
                    </a:ext>
                  </a:extLst>
                </a:gridCol>
                <a:gridCol w="868271">
                  <a:extLst>
                    <a:ext uri="{9D8B030D-6E8A-4147-A177-3AD203B41FA5}">
                      <a16:colId xmlns:a16="http://schemas.microsoft.com/office/drawing/2014/main" val="40221412"/>
                    </a:ext>
                  </a:extLst>
                </a:gridCol>
                <a:gridCol w="641052">
                  <a:extLst>
                    <a:ext uri="{9D8B030D-6E8A-4147-A177-3AD203B41FA5}">
                      <a16:colId xmlns:a16="http://schemas.microsoft.com/office/drawing/2014/main" val="3572060527"/>
                    </a:ext>
                  </a:extLst>
                </a:gridCol>
                <a:gridCol w="823281">
                  <a:extLst>
                    <a:ext uri="{9D8B030D-6E8A-4147-A177-3AD203B41FA5}">
                      <a16:colId xmlns:a16="http://schemas.microsoft.com/office/drawing/2014/main" val="709361971"/>
                    </a:ext>
                  </a:extLst>
                </a:gridCol>
              </a:tblGrid>
              <a:tr h="206418">
                <a:tc>
                  <a:txBody>
                    <a:bodyPr/>
                    <a:lstStyle/>
                    <a:p>
                      <a:pPr marL="0" marR="0" lvl="0" indent="0" algn="ct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EM </a:t>
                      </a:r>
                    </a:p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2 ’17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dex 1 (km, Millions)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 </a:t>
                      </a:r>
                      <a:b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V sold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V sold (%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erage range (km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8570807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C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,32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2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23631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ord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2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,84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14496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onda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48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hindra &amp; Mahindr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3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1888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uangzhou Auto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9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2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6992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ueast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215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ifan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1196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inan Automobile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61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9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.a.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96656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wtai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7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92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.a.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4906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ichuan Yem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4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.a.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04323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ulon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6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.a.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814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ther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.a.</a:t>
                      </a: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26716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eaLnBrk="1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lobal</a:t>
                      </a:r>
                    </a:p>
                  </a:txBody>
                  <a:tcPr marL="36000" marR="36000" marT="36000" marB="36000" anchor="ctr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7.47</a:t>
                      </a:r>
                    </a:p>
                  </a:txBody>
                  <a:tcPr marL="36000" marR="36000" marT="36000" marB="36000" anchor="ctr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0,411</a:t>
                      </a:r>
                    </a:p>
                  </a:txBody>
                  <a:tcPr marL="36000" marR="36000" marT="36000" marB="36000" anchor="ctr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19</a:t>
                      </a:r>
                    </a:p>
                  </a:txBody>
                  <a:tcPr marL="36000" marR="36000" marT="36000" marB="36000" anchor="ctr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2</a:t>
                      </a:r>
                    </a:p>
                  </a:txBody>
                  <a:tcPr marL="36000" marR="36000" marT="36000" marB="36000" anchor="ctr">
                    <a:lnL w="19050" cmpd="sng">
                      <a:noFill/>
                    </a:lnL>
                    <a:lnR w="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9878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52676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8301" y="423158"/>
            <a:ext cx="11448000" cy="719842"/>
          </a:xfrm>
        </p:spPr>
        <p:txBody>
          <a:bodyPr/>
          <a:lstStyle/>
          <a:p>
            <a:r>
              <a:rPr lang="it-IT" dirty="0"/>
              <a:t>Indice 2: Produttori cinesi più avanzati rispetto agli OEM ‘tradizionali’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68301" y="6164264"/>
            <a:ext cx="11448000" cy="171735"/>
          </a:xfrm>
        </p:spPr>
        <p:txBody>
          <a:bodyPr/>
          <a:lstStyle/>
          <a:p>
            <a:r>
              <a:rPr lang="en-GB" sz="1000" dirty="0"/>
              <a:t>Fonti: IHS </a:t>
            </a:r>
            <a:r>
              <a:rPr lang="en-GB" sz="1000" dirty="0" err="1"/>
              <a:t>Markit</a:t>
            </a:r>
            <a:r>
              <a:rPr lang="en-GB" sz="1000" dirty="0"/>
              <a:t>, EV-volumes.com, </a:t>
            </a:r>
            <a:r>
              <a:rPr lang="en-GB" sz="1000" dirty="0" err="1"/>
              <a:t>Stime</a:t>
            </a:r>
            <a:r>
              <a:rPr lang="en-GB" sz="1000" dirty="0"/>
              <a:t> AlixPartners</a:t>
            </a:r>
          </a:p>
        </p:txBody>
      </p:sp>
      <p:sp>
        <p:nvSpPr>
          <p:cNvPr id="60" name="SubHeaderV">
            <a:extLst>
              <a:ext uri="{FF2B5EF4-FFF2-40B4-BE49-F238E27FC236}">
                <a16:creationId xmlns:a16="http://schemas.microsoft.com/office/drawing/2014/main" id="{3AA9D354-DA7D-4C07-95A2-EE21BAF161E8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68301" y="1149627"/>
            <a:ext cx="11456987" cy="30611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pPr>
              <a:spcAft>
                <a:spcPts val="400"/>
              </a:spcAft>
            </a:pPr>
            <a:r>
              <a:rPr lang="it-IT" sz="1150" dirty="0"/>
              <a:t>Indice 2 = (∑</a:t>
            </a:r>
            <a:r>
              <a:rPr lang="it-IT" sz="1150" baseline="-25000" dirty="0"/>
              <a:t>tutti i tipi di veicoli </a:t>
            </a:r>
            <a:r>
              <a:rPr lang="it-IT" sz="1150" dirty="0"/>
              <a:t>Numero di veicoli elettrici venduti * (Autonomia elettrica senza supporto di combustione interna/500 km))/ Totale veicoli venduti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15470B8-4C95-4A33-855B-CE5EE28F8F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098343"/>
              </p:ext>
            </p:extLst>
          </p:nvPr>
        </p:nvGraphicFramePr>
        <p:xfrm>
          <a:off x="368300" y="1689100"/>
          <a:ext cx="5587999" cy="4388160"/>
        </p:xfrm>
        <a:graphic>
          <a:graphicData uri="http://schemas.openxmlformats.org/drawingml/2006/table">
            <a:tbl>
              <a:tblPr firstRow="1" bandRow="1">
                <a:tableStyleId>{EBB1D203-1372-4C57-B10A-E3B16F0ECCC6}</a:tableStyleId>
              </a:tblPr>
              <a:tblGrid>
                <a:gridCol w="769506">
                  <a:extLst>
                    <a:ext uri="{9D8B030D-6E8A-4147-A177-3AD203B41FA5}">
                      <a16:colId xmlns:a16="http://schemas.microsoft.com/office/drawing/2014/main" val="2554407371"/>
                    </a:ext>
                  </a:extLst>
                </a:gridCol>
                <a:gridCol w="1525565">
                  <a:extLst>
                    <a:ext uri="{9D8B030D-6E8A-4147-A177-3AD203B41FA5}">
                      <a16:colId xmlns:a16="http://schemas.microsoft.com/office/drawing/2014/main" val="1851822592"/>
                    </a:ext>
                  </a:extLst>
                </a:gridCol>
                <a:gridCol w="898072">
                  <a:extLst>
                    <a:ext uri="{9D8B030D-6E8A-4147-A177-3AD203B41FA5}">
                      <a16:colId xmlns:a16="http://schemas.microsoft.com/office/drawing/2014/main" val="148519809"/>
                    </a:ext>
                  </a:extLst>
                </a:gridCol>
                <a:gridCol w="798285">
                  <a:extLst>
                    <a:ext uri="{9D8B030D-6E8A-4147-A177-3AD203B41FA5}">
                      <a16:colId xmlns:a16="http://schemas.microsoft.com/office/drawing/2014/main" val="40221412"/>
                    </a:ext>
                  </a:extLst>
                </a:gridCol>
                <a:gridCol w="698943">
                  <a:extLst>
                    <a:ext uri="{9D8B030D-6E8A-4147-A177-3AD203B41FA5}">
                      <a16:colId xmlns:a16="http://schemas.microsoft.com/office/drawing/2014/main" val="3572060527"/>
                    </a:ext>
                  </a:extLst>
                </a:gridCol>
                <a:gridCol w="897628">
                  <a:extLst>
                    <a:ext uri="{9D8B030D-6E8A-4147-A177-3AD203B41FA5}">
                      <a16:colId xmlns:a16="http://schemas.microsoft.com/office/drawing/2014/main" val="709361971"/>
                    </a:ext>
                  </a:extLst>
                </a:gridCol>
              </a:tblGrid>
              <a:tr h="226080">
                <a:tc>
                  <a:txBody>
                    <a:bodyPr/>
                    <a:lstStyle/>
                    <a:p>
                      <a:pPr marL="0" marR="0" lvl="0" indent="0" algn="ct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EM </a:t>
                      </a:r>
                    </a:p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2 ’17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dex 1</a:t>
                      </a:r>
                    </a:p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km, Millions)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 EV sold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V </a:t>
                      </a:r>
                      <a:b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ld (%)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erage </a:t>
                      </a:r>
                      <a:b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ange (km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857080747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sl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7.8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,74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.00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8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1306787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Zhidou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,89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1825144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YD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.4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,54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.6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2030203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Zotye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.7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,15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.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661733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AIC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5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,45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.8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756953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hery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,28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.9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7375511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ianghuai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8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,77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6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4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6612798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iangling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2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,9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.1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623595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ely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11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,62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2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3449720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MW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65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,02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2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518130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hangan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5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,8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9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9394157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nault/Nissan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56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,74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7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7194779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IC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4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,175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.0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0659085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ongfeng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4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,41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3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5054544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itsubishi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,738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2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0144390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eneral Motors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,347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8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2531709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yundai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2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,289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5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6663105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aimler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,126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1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9495946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olkswagen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,17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63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0673330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S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82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9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8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9444372"/>
                  </a:ext>
                </a:extLst>
              </a:tr>
              <a:tr h="13464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yota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,86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72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3</a:t>
                      </a: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710731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A3D52202-1ECF-448F-B57D-E91E9F0E90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5324650"/>
              </p:ext>
            </p:extLst>
          </p:nvPr>
        </p:nvGraphicFramePr>
        <p:xfrm>
          <a:off x="6235701" y="1689100"/>
          <a:ext cx="5589589" cy="2836800"/>
        </p:xfrm>
        <a:graphic>
          <a:graphicData uri="http://schemas.openxmlformats.org/drawingml/2006/table">
            <a:tbl>
              <a:tblPr firstRow="1" lastRow="1" bandRow="1">
                <a:tableStyleId>{EBB1D203-1372-4C57-B10A-E3B16F0ECCC6}</a:tableStyleId>
              </a:tblPr>
              <a:tblGrid>
                <a:gridCol w="766400">
                  <a:extLst>
                    <a:ext uri="{9D8B030D-6E8A-4147-A177-3AD203B41FA5}">
                      <a16:colId xmlns:a16="http://schemas.microsoft.com/office/drawing/2014/main" val="2554407371"/>
                    </a:ext>
                  </a:extLst>
                </a:gridCol>
                <a:gridCol w="1622314">
                  <a:extLst>
                    <a:ext uri="{9D8B030D-6E8A-4147-A177-3AD203B41FA5}">
                      <a16:colId xmlns:a16="http://schemas.microsoft.com/office/drawing/2014/main" val="1851822592"/>
                    </a:ext>
                  </a:extLst>
                </a:gridCol>
                <a:gridCol w="868271">
                  <a:extLst>
                    <a:ext uri="{9D8B030D-6E8A-4147-A177-3AD203B41FA5}">
                      <a16:colId xmlns:a16="http://schemas.microsoft.com/office/drawing/2014/main" val="148519809"/>
                    </a:ext>
                  </a:extLst>
                </a:gridCol>
                <a:gridCol w="868271">
                  <a:extLst>
                    <a:ext uri="{9D8B030D-6E8A-4147-A177-3AD203B41FA5}">
                      <a16:colId xmlns:a16="http://schemas.microsoft.com/office/drawing/2014/main" val="40221412"/>
                    </a:ext>
                  </a:extLst>
                </a:gridCol>
                <a:gridCol w="641052">
                  <a:extLst>
                    <a:ext uri="{9D8B030D-6E8A-4147-A177-3AD203B41FA5}">
                      <a16:colId xmlns:a16="http://schemas.microsoft.com/office/drawing/2014/main" val="3572060527"/>
                    </a:ext>
                  </a:extLst>
                </a:gridCol>
                <a:gridCol w="823281">
                  <a:extLst>
                    <a:ext uri="{9D8B030D-6E8A-4147-A177-3AD203B41FA5}">
                      <a16:colId xmlns:a16="http://schemas.microsoft.com/office/drawing/2014/main" val="709361971"/>
                    </a:ext>
                  </a:extLst>
                </a:gridCol>
              </a:tblGrid>
              <a:tr h="206418">
                <a:tc>
                  <a:txBody>
                    <a:bodyPr/>
                    <a:lstStyle/>
                    <a:p>
                      <a:pPr marL="0" marR="0" lvl="0" indent="0" algn="ct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EM </a:t>
                      </a:r>
                    </a:p>
                    <a:p>
                      <a:pPr marL="0" marR="0" lvl="0" indent="0" algn="l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u="none" baseline="0" noProof="0" dirty="0">
                          <a:solidFill>
                            <a:schemeClr val="bg1"/>
                          </a:solidFill>
                          <a:uFill>
                            <a:solidFill>
                              <a:schemeClr val="accent5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2 ’17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dex 1 (km, Millions)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umber </a:t>
                      </a:r>
                      <a:b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it-IT" sz="800" b="1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V sold</a:t>
                      </a: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V sold (%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b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erage range (km)</a:t>
                      </a:r>
                      <a:endParaRPr lang="it-IT" sz="8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b"/>
                </a:tc>
                <a:extLst>
                  <a:ext uri="{0D108BD9-81ED-4DB2-BD59-A6C34878D82A}">
                    <a16:rowId xmlns:a16="http://schemas.microsoft.com/office/drawing/2014/main" val="18570807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hindra &amp; Mahindr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3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23631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CA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,32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2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14496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ord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,84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3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48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onda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18884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uangzhou Auto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9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2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3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6992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oueast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17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6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215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ifan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1196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9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inan Automobile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6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.98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.a.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96656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wtai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7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9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.a.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4906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1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ichuan Yema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4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.40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.a.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04323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ulon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  <a:endParaRPr kumimoji="0" lang="it-IT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383838"/>
                        </a:solidFill>
                        <a:effectLst/>
                        <a:uLnTx/>
                        <a:uFill>
                          <a:solidFill>
                            <a:srgbClr val="ADAFB2"/>
                          </a:solidFill>
                        </a:u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5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62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.a.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814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3</a:t>
                      </a:r>
                      <a:endParaRPr lang="it-IT" sz="800" b="1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ther</a:t>
                      </a:r>
                      <a:endParaRPr lang="it-IT" sz="800" b="0" i="0" u="none" strike="noStrike" dirty="0">
                        <a:solidFill>
                          <a:srgbClr val="383838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3657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83838"/>
                          </a:solidFill>
                          <a:effectLst/>
                          <a:uLnTx/>
                          <a:uFill>
                            <a:solidFill>
                              <a:srgbClr val="ADAFB2"/>
                            </a:solidFill>
                          </a:u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–</a:t>
                      </a: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0</a:t>
                      </a: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0" i="0" u="none" strike="noStrike" dirty="0">
                          <a:solidFill>
                            <a:srgbClr val="383838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.a.</a:t>
                      </a:r>
                    </a:p>
                  </a:txBody>
                  <a:tcPr marL="36000" marR="36000" marT="36000" marB="36000" anchor="ctr">
                    <a:lnB w="9525" cmpd="sng">
                      <a:noFill/>
                      <a:prstDash val="dot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26716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eaLnBrk="1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it-IT" sz="800" b="0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lobal</a:t>
                      </a:r>
                    </a:p>
                  </a:txBody>
                  <a:tcPr marL="36000" marR="36000" marT="36000" marB="36000" anchor="ctr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43</a:t>
                      </a:r>
                    </a:p>
                  </a:txBody>
                  <a:tcPr marL="36000" marR="36000" marT="36000" marB="36000" anchor="ctr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0,411</a:t>
                      </a:r>
                    </a:p>
                  </a:txBody>
                  <a:tcPr marL="36000" marR="36000" marT="36000" marB="36000" anchor="ctr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.19</a:t>
                      </a:r>
                    </a:p>
                  </a:txBody>
                  <a:tcPr marL="36000" marR="36000" marT="36000" marB="36000" anchor="ctr">
                    <a:lnL w="19050" cmpd="sng">
                      <a:noFill/>
                    </a:lnL>
                    <a:lnR w="1905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2</a:t>
                      </a:r>
                    </a:p>
                  </a:txBody>
                  <a:tcPr marL="36000" marR="36000" marT="36000" marB="36000" anchor="ctr">
                    <a:lnL w="19050" cmpd="sng">
                      <a:noFill/>
                    </a:lnL>
                    <a:lnR w="0" cmpd="sng">
                      <a:noFill/>
                    </a:lnR>
                    <a:lnT w="9525" cmpd="sng">
                      <a:noFill/>
                      <a:prstDash val="dot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9878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47938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9550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148326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6073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382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Le norme UE sulle emissioni sono sempre più restrittiv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68301" y="6164264"/>
            <a:ext cx="11448000" cy="171735"/>
          </a:xfrm>
        </p:spPr>
        <p:txBody>
          <a:bodyPr/>
          <a:lstStyle/>
          <a:p>
            <a:r>
              <a:rPr lang="it-IT" sz="1000" dirty="0"/>
              <a:t>Fonte: AlixPartners. Note:	1. Nuove automobili nell’UE 2. Norme aggiuntive importanti su CO, THC e PM</a:t>
            </a:r>
          </a:p>
        </p:txBody>
      </p:sp>
      <p:sp>
        <p:nvSpPr>
          <p:cNvPr id="7" name="SubHeaderV">
            <a:extLst>
              <a:ext uri="{FF2B5EF4-FFF2-40B4-BE49-F238E27FC236}">
                <a16:creationId xmlns:a16="http://schemas.microsoft.com/office/drawing/2014/main" id="{D41F0FD8-4359-4A7A-B54C-A453B93F76CB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68301" y="1149627"/>
            <a:ext cx="11456987" cy="22328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r>
              <a:rPr lang="it-IT" dirty="0"/>
              <a:t>Quadro normativo UE per NO</a:t>
            </a:r>
            <a:r>
              <a:rPr lang="it-IT" baseline="-25000" dirty="0"/>
              <a:t>X</a:t>
            </a:r>
            <a:r>
              <a:rPr lang="it-IT" dirty="0"/>
              <a:t> e CO</a:t>
            </a:r>
            <a:r>
              <a:rPr lang="it-IT" baseline="-25000" dirty="0"/>
              <a:t>2</a:t>
            </a:r>
            <a:r>
              <a:rPr lang="it-IT" dirty="0"/>
              <a:t> (semplificato)</a:t>
            </a:r>
          </a:p>
        </p:txBody>
      </p:sp>
      <p:graphicFrame>
        <p:nvGraphicFramePr>
          <p:cNvPr id="163" name="Table 162">
            <a:extLst>
              <a:ext uri="{FF2B5EF4-FFF2-40B4-BE49-F238E27FC236}">
                <a16:creationId xmlns:a16="http://schemas.microsoft.com/office/drawing/2014/main" id="{BCE7E84C-14BA-4465-826D-536B824A39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843908"/>
              </p:ext>
            </p:extLst>
          </p:nvPr>
        </p:nvGraphicFramePr>
        <p:xfrm>
          <a:off x="368301" y="1576184"/>
          <a:ext cx="11456985" cy="3917520"/>
        </p:xfrm>
        <a:graphic>
          <a:graphicData uri="http://schemas.openxmlformats.org/drawingml/2006/table">
            <a:tbl>
              <a:tblPr firstRow="1" bandRow="1">
                <a:tableStyleId>{EBB1D203-1372-4C57-B10A-E3B16F0ECCC6}</a:tableStyleId>
              </a:tblPr>
              <a:tblGrid>
                <a:gridCol w="603249">
                  <a:extLst>
                    <a:ext uri="{9D8B030D-6E8A-4147-A177-3AD203B41FA5}">
                      <a16:colId xmlns:a16="http://schemas.microsoft.com/office/drawing/2014/main" val="3992069820"/>
                    </a:ext>
                  </a:extLst>
                </a:gridCol>
                <a:gridCol w="13567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67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67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67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671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5671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5671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35671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8268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1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36000" marB="72000" anchor="b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Normativa UE</a:t>
                      </a:r>
                      <a:endParaRPr lang="it-IT" sz="11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540000" marB="7200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Target </a:t>
                      </a:r>
                      <a:br>
                        <a:rPr lang="it-IT" sz="1100" noProof="0" dirty="0"/>
                      </a:br>
                      <a:r>
                        <a:rPr lang="it-IT" sz="1100" noProof="0" dirty="0"/>
                        <a:t>2015</a:t>
                      </a:r>
                      <a:endParaRPr lang="it-IT" sz="11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540000" marB="7200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Target </a:t>
                      </a:r>
                      <a:br>
                        <a:rPr lang="it-IT" sz="1100" noProof="0" dirty="0"/>
                      </a:br>
                      <a:r>
                        <a:rPr lang="it-IT" sz="1100" noProof="0" dirty="0"/>
                        <a:t>2020/2021</a:t>
                      </a:r>
                      <a:endParaRPr lang="it-IT" sz="11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540000" marB="7200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Standard di misurazione 2015</a:t>
                      </a:r>
                      <a:endParaRPr lang="it-IT" sz="11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540000" marB="7200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100" noProof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100" noProof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Status 2015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vs target</a:t>
                      </a:r>
                      <a:endParaRPr lang="it-IT" sz="11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540000" marB="7200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Standard di misurazion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2020/2021</a:t>
                      </a:r>
                      <a:endParaRPr lang="it-IT" sz="11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540000" marB="7200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Previsioni sul </a:t>
                      </a:r>
                      <a:br>
                        <a:rPr lang="it-IT" sz="1100" noProof="0" dirty="0"/>
                      </a:br>
                      <a:r>
                        <a:rPr lang="it-IT" sz="1100" noProof="0" dirty="0"/>
                        <a:t>target 2020/2021</a:t>
                      </a:r>
                      <a:r>
                        <a:rPr lang="it-IT" sz="1100" baseline="0" noProof="0" dirty="0"/>
                        <a:t> </a:t>
                      </a:r>
                      <a:endParaRPr lang="it-IT" sz="11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540000" marB="72000" anchor="b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Difficoltà rispetto a previsioni</a:t>
                      </a:r>
                      <a:endParaRPr lang="it-IT" sz="11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540000" marB="7200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654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noProof="0" dirty="0">
                          <a:solidFill>
                            <a:schemeClr val="bg1"/>
                          </a:solidFill>
                        </a:rPr>
                        <a:t>CO</a:t>
                      </a:r>
                      <a:r>
                        <a:rPr lang="it-IT" sz="1400" b="1" baseline="-25000" noProof="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marL="72000" marR="72000" marT="72000" marB="7200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No 443/2009, </a:t>
                      </a:r>
                      <a:br>
                        <a:rPr lang="it-IT" sz="1100" noProof="0" dirty="0"/>
                      </a:br>
                      <a:r>
                        <a:rPr lang="it-IT" sz="1100" noProof="0" dirty="0"/>
                        <a:t>No 333/2014</a:t>
                      </a:r>
                      <a:endParaRPr lang="it-IT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130g/km</a:t>
                      </a:r>
                      <a:endParaRPr lang="it-IT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95g/km</a:t>
                      </a:r>
                      <a:endParaRPr lang="it-IT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New European Driving Cycle </a:t>
                      </a:r>
                      <a:br>
                        <a:rPr lang="it-IT" sz="1100" noProof="0" dirty="0"/>
                      </a:br>
                      <a:r>
                        <a:rPr lang="it-IT" sz="1100" b="1" noProof="0" dirty="0"/>
                        <a:t>(EU-NEDC)</a:t>
                      </a:r>
                      <a:endParaRPr lang="it-IT" sz="11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Obiettivo raggiunto da tutti gli OEM (in media (6,7)g/km sotto il target)</a:t>
                      </a:r>
                      <a:endParaRPr lang="it-IT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Worldwide harmonized Light vehicles Test Procedure </a:t>
                      </a:r>
                      <a:r>
                        <a:rPr lang="it-IT" sz="1100" b="1" noProof="0" dirty="0"/>
                        <a:t>(WLTP)</a:t>
                      </a:r>
                      <a:endParaRPr lang="it-IT" sz="11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Raggiungibile con NEDC; l’introduzione del WLTP crea nuove sfide per tutte le auto (diesel </a:t>
                      </a:r>
                      <a:br>
                        <a:rPr lang="it-IT" sz="1100" noProof="0" dirty="0"/>
                      </a:br>
                      <a:r>
                        <a:rPr lang="it-IT" sz="1100" noProof="0" dirty="0"/>
                        <a:t>e benzina)</a:t>
                      </a:r>
                      <a:endParaRPr lang="it-IT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Le emissioni reali di </a:t>
                      </a:r>
                      <a:r>
                        <a:rPr lang="it-IT" sz="1100" dirty="0"/>
                        <a:t>CO</a:t>
                      </a:r>
                      <a:r>
                        <a:rPr lang="it-IT" sz="1100" baseline="-25000" dirty="0"/>
                        <a:t>2</a:t>
                      </a:r>
                      <a:r>
                        <a:rPr lang="it-IT" sz="1100" noProof="0" dirty="0"/>
                        <a:t> sono probabilmente superiori del 40% al 50% rispetto al livello di omologazione</a:t>
                      </a:r>
                      <a:endParaRPr lang="it-IT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54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noProof="0" dirty="0">
                          <a:solidFill>
                            <a:schemeClr val="bg1"/>
                          </a:solidFill>
                        </a:rPr>
                        <a:t>NO</a:t>
                      </a:r>
                      <a:r>
                        <a:rPr lang="it-IT" sz="1400" b="1" baseline="-25000" noProof="0" dirty="0">
                          <a:solidFill>
                            <a:schemeClr val="bg1"/>
                          </a:solidFill>
                        </a:rPr>
                        <a:t>X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1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72000" marB="720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noProof="0" dirty="0"/>
                        <a:t>No 715/2007</a:t>
                      </a:r>
                      <a:endParaRPr lang="it-IT" sz="1100" noProof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1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80 mg/km (diesel)</a:t>
                      </a:r>
                      <a:r>
                        <a:rPr lang="it-IT" sz="1100" baseline="0" noProof="0" dirty="0"/>
                        <a:t>; 60mg/km (benzina)</a:t>
                      </a:r>
                      <a:r>
                        <a:rPr lang="it-IT" sz="1100" baseline="30000" noProof="0" dirty="0"/>
                        <a:t>2</a:t>
                      </a:r>
                      <a:endParaRPr lang="it-IT" sz="1100" b="0" baseline="300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80 mg/km (diesel)</a:t>
                      </a:r>
                      <a:r>
                        <a:rPr lang="it-IT" sz="1100" baseline="0" noProof="0" dirty="0"/>
                        <a:t>; 60mg/km (benzina)</a:t>
                      </a:r>
                      <a:r>
                        <a:rPr lang="it-IT" sz="1100" baseline="30000" noProof="0" dirty="0"/>
                        <a:t>2</a:t>
                      </a:r>
                      <a:endParaRPr lang="it-IT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New European Driving Cycle </a:t>
                      </a:r>
                      <a:br>
                        <a:rPr lang="it-IT" sz="1100" noProof="0" dirty="0"/>
                      </a:br>
                      <a:r>
                        <a:rPr lang="it-IT" sz="1100" b="1" noProof="0" dirty="0"/>
                        <a:t>(EU-NEDC)</a:t>
                      </a:r>
                      <a:endParaRPr lang="it-IT" sz="11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noProof="0" dirty="0"/>
                        <a:t>Obiettivo raggiunto da tutti gli OEM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baseline="0" noProof="0" dirty="0"/>
                        <a:t>(sulla base del protocollo NEDC)</a:t>
                      </a:r>
                      <a:endParaRPr lang="it-IT" sz="11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kern="1200" noProof="0" dirty="0"/>
                        <a:t>Real Driving</a:t>
                      </a:r>
                      <a:r>
                        <a:rPr lang="it-IT" sz="1100" kern="1200" baseline="0" noProof="0" dirty="0"/>
                        <a:t> </a:t>
                      </a:r>
                      <a:r>
                        <a:rPr lang="it-IT" sz="1100" kern="1200" noProof="0" dirty="0"/>
                        <a:t>Emission Test </a:t>
                      </a:r>
                      <a:r>
                        <a:rPr lang="it-IT" sz="1100" b="1" kern="1200" noProof="0" dirty="0"/>
                        <a:t>(RDE)</a:t>
                      </a:r>
                      <a:endParaRPr lang="it-IT" sz="11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Raggiungibile con NEDC; l’introduzione del RDE crea sfide importanti, in particolare per i veicoli diesel</a:t>
                      </a:r>
                      <a:endParaRPr lang="it-IT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noProof="0" dirty="0"/>
                        <a:t>Le emissioni reali di NO</a:t>
                      </a:r>
                      <a:r>
                        <a:rPr lang="it-IT" sz="1100" baseline="-25000" dirty="0"/>
                        <a:t>X</a:t>
                      </a:r>
                      <a:r>
                        <a:rPr lang="it-IT" sz="1100" noProof="0" dirty="0"/>
                        <a:t> sono probabilmente da 5 a 7 volte più elevate rispetto ai dati di omologazione</a:t>
                      </a:r>
                      <a:endParaRPr lang="it-IT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80" name="Freeform 139">
            <a:extLst>
              <a:ext uri="{FF2B5EF4-FFF2-40B4-BE49-F238E27FC236}">
                <a16:creationId xmlns:a16="http://schemas.microsoft.com/office/drawing/2014/main" id="{3D49BE29-222E-4E0F-865A-CB57BF05E8D1}"/>
              </a:ext>
            </a:extLst>
          </p:cNvPr>
          <p:cNvSpPr>
            <a:spLocks noEditPoints="1"/>
          </p:cNvSpPr>
          <p:nvPr/>
        </p:nvSpPr>
        <p:spPr bwMode="auto">
          <a:xfrm>
            <a:off x="1443943" y="1709579"/>
            <a:ext cx="417288" cy="418529"/>
          </a:xfrm>
          <a:custGeom>
            <a:avLst/>
            <a:gdLst>
              <a:gd name="T0" fmla="*/ 175 w 176"/>
              <a:gd name="T1" fmla="*/ 170 h 176"/>
              <a:gd name="T2" fmla="*/ 133 w 176"/>
              <a:gd name="T3" fmla="*/ 127 h 176"/>
              <a:gd name="T4" fmla="*/ 152 w 176"/>
              <a:gd name="T5" fmla="*/ 76 h 176"/>
              <a:gd name="T6" fmla="*/ 76 w 176"/>
              <a:gd name="T7" fmla="*/ 0 h 176"/>
              <a:gd name="T8" fmla="*/ 0 w 176"/>
              <a:gd name="T9" fmla="*/ 76 h 176"/>
              <a:gd name="T10" fmla="*/ 76 w 176"/>
              <a:gd name="T11" fmla="*/ 152 h 176"/>
              <a:gd name="T12" fmla="*/ 127 w 176"/>
              <a:gd name="T13" fmla="*/ 133 h 176"/>
              <a:gd name="T14" fmla="*/ 169 w 176"/>
              <a:gd name="T15" fmla="*/ 175 h 176"/>
              <a:gd name="T16" fmla="*/ 172 w 176"/>
              <a:gd name="T17" fmla="*/ 176 h 176"/>
              <a:gd name="T18" fmla="*/ 176 w 176"/>
              <a:gd name="T19" fmla="*/ 172 h 176"/>
              <a:gd name="T20" fmla="*/ 175 w 176"/>
              <a:gd name="T21" fmla="*/ 170 h 176"/>
              <a:gd name="T22" fmla="*/ 76 w 176"/>
              <a:gd name="T23" fmla="*/ 144 h 176"/>
              <a:gd name="T24" fmla="*/ 8 w 176"/>
              <a:gd name="T25" fmla="*/ 76 h 176"/>
              <a:gd name="T26" fmla="*/ 76 w 176"/>
              <a:gd name="T27" fmla="*/ 8 h 176"/>
              <a:gd name="T28" fmla="*/ 144 w 176"/>
              <a:gd name="T29" fmla="*/ 76 h 176"/>
              <a:gd name="T30" fmla="*/ 76 w 176"/>
              <a:gd name="T31" fmla="*/ 144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176">
                <a:moveTo>
                  <a:pt x="175" y="170"/>
                </a:moveTo>
                <a:cubicBezTo>
                  <a:pt x="133" y="127"/>
                  <a:pt x="133" y="127"/>
                  <a:pt x="133" y="127"/>
                </a:cubicBezTo>
                <a:cubicBezTo>
                  <a:pt x="145" y="114"/>
                  <a:pt x="152" y="96"/>
                  <a:pt x="152" y="76"/>
                </a:cubicBezTo>
                <a:cubicBezTo>
                  <a:pt x="152" y="34"/>
                  <a:pt x="118" y="0"/>
                  <a:pt x="76" y="0"/>
                </a:cubicBezTo>
                <a:cubicBezTo>
                  <a:pt x="34" y="0"/>
                  <a:pt x="0" y="34"/>
                  <a:pt x="0" y="76"/>
                </a:cubicBezTo>
                <a:cubicBezTo>
                  <a:pt x="0" y="118"/>
                  <a:pt x="34" y="152"/>
                  <a:pt x="76" y="152"/>
                </a:cubicBezTo>
                <a:cubicBezTo>
                  <a:pt x="96" y="152"/>
                  <a:pt x="114" y="145"/>
                  <a:pt x="127" y="133"/>
                </a:cubicBezTo>
                <a:cubicBezTo>
                  <a:pt x="169" y="175"/>
                  <a:pt x="169" y="175"/>
                  <a:pt x="169" y="175"/>
                </a:cubicBezTo>
                <a:cubicBezTo>
                  <a:pt x="170" y="176"/>
                  <a:pt x="171" y="176"/>
                  <a:pt x="172" y="176"/>
                </a:cubicBezTo>
                <a:cubicBezTo>
                  <a:pt x="174" y="176"/>
                  <a:pt x="176" y="175"/>
                  <a:pt x="176" y="172"/>
                </a:cubicBezTo>
                <a:cubicBezTo>
                  <a:pt x="176" y="171"/>
                  <a:pt x="176" y="170"/>
                  <a:pt x="175" y="170"/>
                </a:cubicBezTo>
                <a:close/>
                <a:moveTo>
                  <a:pt x="76" y="144"/>
                </a:moveTo>
                <a:cubicBezTo>
                  <a:pt x="39" y="144"/>
                  <a:pt x="8" y="114"/>
                  <a:pt x="8" y="76"/>
                </a:cubicBezTo>
                <a:cubicBezTo>
                  <a:pt x="8" y="39"/>
                  <a:pt x="39" y="8"/>
                  <a:pt x="76" y="8"/>
                </a:cubicBezTo>
                <a:cubicBezTo>
                  <a:pt x="114" y="8"/>
                  <a:pt x="144" y="39"/>
                  <a:pt x="144" y="76"/>
                </a:cubicBezTo>
                <a:cubicBezTo>
                  <a:pt x="144" y="114"/>
                  <a:pt x="114" y="144"/>
                  <a:pt x="76" y="1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1" name="Freeform 124">
            <a:extLst>
              <a:ext uri="{FF2B5EF4-FFF2-40B4-BE49-F238E27FC236}">
                <a16:creationId xmlns:a16="http://schemas.microsoft.com/office/drawing/2014/main" id="{B7DA95D4-4E00-4E8F-8112-51723A17B7EE}"/>
              </a:ext>
            </a:extLst>
          </p:cNvPr>
          <p:cNvSpPr>
            <a:spLocks noEditPoints="1"/>
          </p:cNvSpPr>
          <p:nvPr/>
        </p:nvSpPr>
        <p:spPr bwMode="auto">
          <a:xfrm>
            <a:off x="8234401" y="1709579"/>
            <a:ext cx="423701" cy="423700"/>
          </a:xfrm>
          <a:custGeom>
            <a:avLst/>
            <a:gdLst>
              <a:gd name="T0" fmla="*/ 88 w 176"/>
              <a:gd name="T1" fmla="*/ 0 h 176"/>
              <a:gd name="T2" fmla="*/ 0 w 176"/>
              <a:gd name="T3" fmla="*/ 88 h 176"/>
              <a:gd name="T4" fmla="*/ 88 w 176"/>
              <a:gd name="T5" fmla="*/ 176 h 176"/>
              <a:gd name="T6" fmla="*/ 176 w 176"/>
              <a:gd name="T7" fmla="*/ 88 h 176"/>
              <a:gd name="T8" fmla="*/ 88 w 176"/>
              <a:gd name="T9" fmla="*/ 0 h 176"/>
              <a:gd name="T10" fmla="*/ 167 w 176"/>
              <a:gd name="T11" fmla="*/ 84 h 176"/>
              <a:gd name="T12" fmla="*/ 97 w 176"/>
              <a:gd name="T13" fmla="*/ 84 h 176"/>
              <a:gd name="T14" fmla="*/ 147 w 176"/>
              <a:gd name="T15" fmla="*/ 34 h 176"/>
              <a:gd name="T16" fmla="*/ 167 w 176"/>
              <a:gd name="T17" fmla="*/ 84 h 176"/>
              <a:gd name="T18" fmla="*/ 88 w 176"/>
              <a:gd name="T19" fmla="*/ 168 h 176"/>
              <a:gd name="T20" fmla="*/ 8 w 176"/>
              <a:gd name="T21" fmla="*/ 88 h 176"/>
              <a:gd name="T22" fmla="*/ 88 w 176"/>
              <a:gd name="T23" fmla="*/ 8 h 176"/>
              <a:gd name="T24" fmla="*/ 141 w 176"/>
              <a:gd name="T25" fmla="*/ 29 h 176"/>
              <a:gd name="T26" fmla="*/ 85 w 176"/>
              <a:gd name="T27" fmla="*/ 85 h 176"/>
              <a:gd name="T28" fmla="*/ 84 w 176"/>
              <a:gd name="T29" fmla="*/ 88 h 176"/>
              <a:gd name="T30" fmla="*/ 88 w 176"/>
              <a:gd name="T31" fmla="*/ 92 h 176"/>
              <a:gd name="T32" fmla="*/ 167 w 176"/>
              <a:gd name="T33" fmla="*/ 92 h 176"/>
              <a:gd name="T34" fmla="*/ 88 w 176"/>
              <a:gd name="T35" fmla="*/ 168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76" h="176">
                <a:moveTo>
                  <a:pt x="88" y="0"/>
                </a:moveTo>
                <a:cubicBezTo>
                  <a:pt x="39" y="0"/>
                  <a:pt x="0" y="39"/>
                  <a:pt x="0" y="88"/>
                </a:cubicBezTo>
                <a:cubicBezTo>
                  <a:pt x="0" y="137"/>
                  <a:pt x="39" y="176"/>
                  <a:pt x="88" y="176"/>
                </a:cubicBezTo>
                <a:cubicBezTo>
                  <a:pt x="136" y="176"/>
                  <a:pt x="176" y="137"/>
                  <a:pt x="176" y="88"/>
                </a:cubicBezTo>
                <a:cubicBezTo>
                  <a:pt x="176" y="39"/>
                  <a:pt x="136" y="0"/>
                  <a:pt x="88" y="0"/>
                </a:cubicBezTo>
                <a:close/>
                <a:moveTo>
                  <a:pt x="167" y="84"/>
                </a:moveTo>
                <a:cubicBezTo>
                  <a:pt x="97" y="84"/>
                  <a:pt x="97" y="84"/>
                  <a:pt x="97" y="84"/>
                </a:cubicBezTo>
                <a:cubicBezTo>
                  <a:pt x="147" y="34"/>
                  <a:pt x="147" y="34"/>
                  <a:pt x="147" y="34"/>
                </a:cubicBezTo>
                <a:cubicBezTo>
                  <a:pt x="159" y="48"/>
                  <a:pt x="166" y="65"/>
                  <a:pt x="167" y="84"/>
                </a:cubicBezTo>
                <a:close/>
                <a:moveTo>
                  <a:pt x="88" y="168"/>
                </a:moveTo>
                <a:cubicBezTo>
                  <a:pt x="43" y="168"/>
                  <a:pt x="8" y="132"/>
                  <a:pt x="8" y="88"/>
                </a:cubicBezTo>
                <a:cubicBezTo>
                  <a:pt x="8" y="44"/>
                  <a:pt x="43" y="8"/>
                  <a:pt x="88" y="8"/>
                </a:cubicBezTo>
                <a:cubicBezTo>
                  <a:pt x="108" y="8"/>
                  <a:pt x="127" y="16"/>
                  <a:pt x="141" y="29"/>
                </a:cubicBezTo>
                <a:cubicBezTo>
                  <a:pt x="85" y="85"/>
                  <a:pt x="85" y="85"/>
                  <a:pt x="85" y="85"/>
                </a:cubicBezTo>
                <a:cubicBezTo>
                  <a:pt x="84" y="86"/>
                  <a:pt x="84" y="87"/>
                  <a:pt x="84" y="88"/>
                </a:cubicBezTo>
                <a:cubicBezTo>
                  <a:pt x="84" y="90"/>
                  <a:pt x="85" y="92"/>
                  <a:pt x="88" y="92"/>
                </a:cubicBezTo>
                <a:cubicBezTo>
                  <a:pt x="167" y="92"/>
                  <a:pt x="167" y="92"/>
                  <a:pt x="167" y="92"/>
                </a:cubicBezTo>
                <a:cubicBezTo>
                  <a:pt x="165" y="134"/>
                  <a:pt x="130" y="168"/>
                  <a:pt x="88" y="1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2" name="Freeform 117">
            <a:extLst>
              <a:ext uri="{FF2B5EF4-FFF2-40B4-BE49-F238E27FC236}">
                <a16:creationId xmlns:a16="http://schemas.microsoft.com/office/drawing/2014/main" id="{FB4C97A3-4530-4B64-B3EB-B1D3E0613D04}"/>
              </a:ext>
            </a:extLst>
          </p:cNvPr>
          <p:cNvSpPr>
            <a:spLocks noEditPoints="1"/>
          </p:cNvSpPr>
          <p:nvPr/>
        </p:nvSpPr>
        <p:spPr bwMode="auto">
          <a:xfrm>
            <a:off x="6889682" y="1709579"/>
            <a:ext cx="346405" cy="420837"/>
          </a:xfrm>
          <a:custGeom>
            <a:avLst/>
            <a:gdLst>
              <a:gd name="T0" fmla="*/ 108 w 144"/>
              <a:gd name="T1" fmla="*/ 100 h 176"/>
              <a:gd name="T2" fmla="*/ 36 w 144"/>
              <a:gd name="T3" fmla="*/ 100 h 176"/>
              <a:gd name="T4" fmla="*/ 32 w 144"/>
              <a:gd name="T5" fmla="*/ 104 h 176"/>
              <a:gd name="T6" fmla="*/ 36 w 144"/>
              <a:gd name="T7" fmla="*/ 108 h 176"/>
              <a:gd name="T8" fmla="*/ 108 w 144"/>
              <a:gd name="T9" fmla="*/ 108 h 176"/>
              <a:gd name="T10" fmla="*/ 112 w 144"/>
              <a:gd name="T11" fmla="*/ 104 h 176"/>
              <a:gd name="T12" fmla="*/ 108 w 144"/>
              <a:gd name="T13" fmla="*/ 100 h 176"/>
              <a:gd name="T14" fmla="*/ 36 w 144"/>
              <a:gd name="T15" fmla="*/ 44 h 176"/>
              <a:gd name="T16" fmla="*/ 56 w 144"/>
              <a:gd name="T17" fmla="*/ 44 h 176"/>
              <a:gd name="T18" fmla="*/ 60 w 144"/>
              <a:gd name="T19" fmla="*/ 40 h 176"/>
              <a:gd name="T20" fmla="*/ 56 w 144"/>
              <a:gd name="T21" fmla="*/ 36 h 176"/>
              <a:gd name="T22" fmla="*/ 36 w 144"/>
              <a:gd name="T23" fmla="*/ 36 h 176"/>
              <a:gd name="T24" fmla="*/ 32 w 144"/>
              <a:gd name="T25" fmla="*/ 40 h 176"/>
              <a:gd name="T26" fmla="*/ 36 w 144"/>
              <a:gd name="T27" fmla="*/ 44 h 176"/>
              <a:gd name="T28" fmla="*/ 84 w 144"/>
              <a:gd name="T29" fmla="*/ 132 h 176"/>
              <a:gd name="T30" fmla="*/ 36 w 144"/>
              <a:gd name="T31" fmla="*/ 132 h 176"/>
              <a:gd name="T32" fmla="*/ 32 w 144"/>
              <a:gd name="T33" fmla="*/ 136 h 176"/>
              <a:gd name="T34" fmla="*/ 36 w 144"/>
              <a:gd name="T35" fmla="*/ 140 h 176"/>
              <a:gd name="T36" fmla="*/ 84 w 144"/>
              <a:gd name="T37" fmla="*/ 140 h 176"/>
              <a:gd name="T38" fmla="*/ 88 w 144"/>
              <a:gd name="T39" fmla="*/ 136 h 176"/>
              <a:gd name="T40" fmla="*/ 84 w 144"/>
              <a:gd name="T41" fmla="*/ 132 h 176"/>
              <a:gd name="T42" fmla="*/ 104 w 144"/>
              <a:gd name="T43" fmla="*/ 0 h 176"/>
              <a:gd name="T44" fmla="*/ 92 w 144"/>
              <a:gd name="T45" fmla="*/ 0 h 176"/>
              <a:gd name="T46" fmla="*/ 16 w 144"/>
              <a:gd name="T47" fmla="*/ 0 h 176"/>
              <a:gd name="T48" fmla="*/ 0 w 144"/>
              <a:gd name="T49" fmla="*/ 16 h 176"/>
              <a:gd name="T50" fmla="*/ 0 w 144"/>
              <a:gd name="T51" fmla="*/ 160 h 176"/>
              <a:gd name="T52" fmla="*/ 16 w 144"/>
              <a:gd name="T53" fmla="*/ 176 h 176"/>
              <a:gd name="T54" fmla="*/ 128 w 144"/>
              <a:gd name="T55" fmla="*/ 176 h 176"/>
              <a:gd name="T56" fmla="*/ 144 w 144"/>
              <a:gd name="T57" fmla="*/ 160 h 176"/>
              <a:gd name="T58" fmla="*/ 144 w 144"/>
              <a:gd name="T59" fmla="*/ 52 h 176"/>
              <a:gd name="T60" fmla="*/ 144 w 144"/>
              <a:gd name="T61" fmla="*/ 44 h 176"/>
              <a:gd name="T62" fmla="*/ 104 w 144"/>
              <a:gd name="T63" fmla="*/ 0 h 176"/>
              <a:gd name="T64" fmla="*/ 136 w 144"/>
              <a:gd name="T65" fmla="*/ 160 h 176"/>
              <a:gd name="T66" fmla="*/ 128 w 144"/>
              <a:gd name="T67" fmla="*/ 168 h 176"/>
              <a:gd name="T68" fmla="*/ 16 w 144"/>
              <a:gd name="T69" fmla="*/ 168 h 176"/>
              <a:gd name="T70" fmla="*/ 8 w 144"/>
              <a:gd name="T71" fmla="*/ 160 h 176"/>
              <a:gd name="T72" fmla="*/ 8 w 144"/>
              <a:gd name="T73" fmla="*/ 16 h 176"/>
              <a:gd name="T74" fmla="*/ 16 w 144"/>
              <a:gd name="T75" fmla="*/ 8 h 176"/>
              <a:gd name="T76" fmla="*/ 88 w 144"/>
              <a:gd name="T77" fmla="*/ 8 h 176"/>
              <a:gd name="T78" fmla="*/ 88 w 144"/>
              <a:gd name="T79" fmla="*/ 48 h 176"/>
              <a:gd name="T80" fmla="*/ 96 w 144"/>
              <a:gd name="T81" fmla="*/ 56 h 176"/>
              <a:gd name="T82" fmla="*/ 136 w 144"/>
              <a:gd name="T83" fmla="*/ 56 h 176"/>
              <a:gd name="T84" fmla="*/ 136 w 144"/>
              <a:gd name="T85" fmla="*/ 160 h 176"/>
              <a:gd name="T86" fmla="*/ 96 w 144"/>
              <a:gd name="T87" fmla="*/ 48 h 176"/>
              <a:gd name="T88" fmla="*/ 96 w 144"/>
              <a:gd name="T89" fmla="*/ 8 h 176"/>
              <a:gd name="T90" fmla="*/ 100 w 144"/>
              <a:gd name="T91" fmla="*/ 8 h 176"/>
              <a:gd name="T92" fmla="*/ 136 w 144"/>
              <a:gd name="T93" fmla="*/ 48 h 176"/>
              <a:gd name="T94" fmla="*/ 96 w 144"/>
              <a:gd name="T95" fmla="*/ 48 h 176"/>
              <a:gd name="T96" fmla="*/ 32 w 144"/>
              <a:gd name="T97" fmla="*/ 72 h 176"/>
              <a:gd name="T98" fmla="*/ 36 w 144"/>
              <a:gd name="T99" fmla="*/ 76 h 176"/>
              <a:gd name="T100" fmla="*/ 108 w 144"/>
              <a:gd name="T101" fmla="*/ 76 h 176"/>
              <a:gd name="T102" fmla="*/ 112 w 144"/>
              <a:gd name="T103" fmla="*/ 72 h 176"/>
              <a:gd name="T104" fmla="*/ 108 w 144"/>
              <a:gd name="T105" fmla="*/ 68 h 176"/>
              <a:gd name="T106" fmla="*/ 36 w 144"/>
              <a:gd name="T107" fmla="*/ 68 h 176"/>
              <a:gd name="T108" fmla="*/ 32 w 144"/>
              <a:gd name="T109" fmla="*/ 72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" h="176">
                <a:moveTo>
                  <a:pt x="108" y="100"/>
                </a:moveTo>
                <a:cubicBezTo>
                  <a:pt x="36" y="100"/>
                  <a:pt x="36" y="100"/>
                  <a:pt x="36" y="100"/>
                </a:cubicBezTo>
                <a:cubicBezTo>
                  <a:pt x="34" y="100"/>
                  <a:pt x="32" y="102"/>
                  <a:pt x="32" y="104"/>
                </a:cubicBezTo>
                <a:cubicBezTo>
                  <a:pt x="32" y="106"/>
                  <a:pt x="34" y="108"/>
                  <a:pt x="36" y="108"/>
                </a:cubicBezTo>
                <a:cubicBezTo>
                  <a:pt x="108" y="108"/>
                  <a:pt x="108" y="108"/>
                  <a:pt x="108" y="108"/>
                </a:cubicBezTo>
                <a:cubicBezTo>
                  <a:pt x="111" y="108"/>
                  <a:pt x="112" y="106"/>
                  <a:pt x="112" y="104"/>
                </a:cubicBezTo>
                <a:cubicBezTo>
                  <a:pt x="112" y="102"/>
                  <a:pt x="111" y="100"/>
                  <a:pt x="108" y="100"/>
                </a:cubicBezTo>
                <a:close/>
                <a:moveTo>
                  <a:pt x="36" y="44"/>
                </a:moveTo>
                <a:cubicBezTo>
                  <a:pt x="56" y="44"/>
                  <a:pt x="56" y="44"/>
                  <a:pt x="56" y="44"/>
                </a:cubicBezTo>
                <a:cubicBezTo>
                  <a:pt x="59" y="44"/>
                  <a:pt x="60" y="42"/>
                  <a:pt x="60" y="40"/>
                </a:cubicBezTo>
                <a:cubicBezTo>
                  <a:pt x="60" y="38"/>
                  <a:pt x="59" y="36"/>
                  <a:pt x="56" y="36"/>
                </a:cubicBezTo>
                <a:cubicBezTo>
                  <a:pt x="36" y="36"/>
                  <a:pt x="36" y="36"/>
                  <a:pt x="36" y="36"/>
                </a:cubicBezTo>
                <a:cubicBezTo>
                  <a:pt x="34" y="36"/>
                  <a:pt x="32" y="38"/>
                  <a:pt x="32" y="40"/>
                </a:cubicBezTo>
                <a:cubicBezTo>
                  <a:pt x="32" y="42"/>
                  <a:pt x="34" y="44"/>
                  <a:pt x="36" y="44"/>
                </a:cubicBezTo>
                <a:close/>
                <a:moveTo>
                  <a:pt x="84" y="132"/>
                </a:moveTo>
                <a:cubicBezTo>
                  <a:pt x="36" y="132"/>
                  <a:pt x="36" y="132"/>
                  <a:pt x="36" y="132"/>
                </a:cubicBezTo>
                <a:cubicBezTo>
                  <a:pt x="34" y="132"/>
                  <a:pt x="32" y="134"/>
                  <a:pt x="32" y="136"/>
                </a:cubicBezTo>
                <a:cubicBezTo>
                  <a:pt x="32" y="138"/>
                  <a:pt x="34" y="140"/>
                  <a:pt x="36" y="140"/>
                </a:cubicBezTo>
                <a:cubicBezTo>
                  <a:pt x="84" y="140"/>
                  <a:pt x="84" y="140"/>
                  <a:pt x="84" y="140"/>
                </a:cubicBezTo>
                <a:cubicBezTo>
                  <a:pt x="87" y="140"/>
                  <a:pt x="88" y="138"/>
                  <a:pt x="88" y="136"/>
                </a:cubicBezTo>
                <a:cubicBezTo>
                  <a:pt x="88" y="134"/>
                  <a:pt x="87" y="132"/>
                  <a:pt x="84" y="132"/>
                </a:cubicBezTo>
                <a:close/>
                <a:moveTo>
                  <a:pt x="104" y="0"/>
                </a:moveTo>
                <a:cubicBezTo>
                  <a:pt x="92" y="0"/>
                  <a:pt x="92" y="0"/>
                  <a:pt x="92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9"/>
                  <a:pt x="7" y="176"/>
                  <a:pt x="16" y="176"/>
                </a:cubicBezTo>
                <a:cubicBezTo>
                  <a:pt x="128" y="176"/>
                  <a:pt x="128" y="176"/>
                  <a:pt x="128" y="176"/>
                </a:cubicBezTo>
                <a:cubicBezTo>
                  <a:pt x="137" y="176"/>
                  <a:pt x="144" y="169"/>
                  <a:pt x="144" y="160"/>
                </a:cubicBezTo>
                <a:cubicBezTo>
                  <a:pt x="144" y="52"/>
                  <a:pt x="144" y="52"/>
                  <a:pt x="144" y="52"/>
                </a:cubicBezTo>
                <a:cubicBezTo>
                  <a:pt x="144" y="44"/>
                  <a:pt x="144" y="44"/>
                  <a:pt x="144" y="44"/>
                </a:cubicBezTo>
                <a:lnTo>
                  <a:pt x="104" y="0"/>
                </a:lnTo>
                <a:close/>
                <a:moveTo>
                  <a:pt x="136" y="160"/>
                </a:moveTo>
                <a:cubicBezTo>
                  <a:pt x="136" y="165"/>
                  <a:pt x="133" y="168"/>
                  <a:pt x="128" y="168"/>
                </a:cubicBezTo>
                <a:cubicBezTo>
                  <a:pt x="16" y="168"/>
                  <a:pt x="16" y="168"/>
                  <a:pt x="16" y="168"/>
                </a:cubicBezTo>
                <a:cubicBezTo>
                  <a:pt x="12" y="168"/>
                  <a:pt x="8" y="165"/>
                  <a:pt x="8" y="160"/>
                </a:cubicBezTo>
                <a:cubicBezTo>
                  <a:pt x="8" y="16"/>
                  <a:pt x="8" y="16"/>
                  <a:pt x="8" y="16"/>
                </a:cubicBezTo>
                <a:cubicBezTo>
                  <a:pt x="8" y="12"/>
                  <a:pt x="12" y="8"/>
                  <a:pt x="16" y="8"/>
                </a:cubicBezTo>
                <a:cubicBezTo>
                  <a:pt x="88" y="8"/>
                  <a:pt x="88" y="8"/>
                  <a:pt x="88" y="8"/>
                </a:cubicBezTo>
                <a:cubicBezTo>
                  <a:pt x="88" y="48"/>
                  <a:pt x="88" y="48"/>
                  <a:pt x="88" y="48"/>
                </a:cubicBezTo>
                <a:cubicBezTo>
                  <a:pt x="88" y="53"/>
                  <a:pt x="92" y="56"/>
                  <a:pt x="96" y="56"/>
                </a:cubicBezTo>
                <a:cubicBezTo>
                  <a:pt x="136" y="56"/>
                  <a:pt x="136" y="56"/>
                  <a:pt x="136" y="56"/>
                </a:cubicBezTo>
                <a:lnTo>
                  <a:pt x="136" y="160"/>
                </a:lnTo>
                <a:close/>
                <a:moveTo>
                  <a:pt x="96" y="48"/>
                </a:moveTo>
                <a:cubicBezTo>
                  <a:pt x="96" y="8"/>
                  <a:pt x="96" y="8"/>
                  <a:pt x="96" y="8"/>
                </a:cubicBezTo>
                <a:cubicBezTo>
                  <a:pt x="100" y="8"/>
                  <a:pt x="100" y="8"/>
                  <a:pt x="100" y="8"/>
                </a:cubicBezTo>
                <a:cubicBezTo>
                  <a:pt x="136" y="48"/>
                  <a:pt x="136" y="48"/>
                  <a:pt x="136" y="48"/>
                </a:cubicBezTo>
                <a:lnTo>
                  <a:pt x="96" y="48"/>
                </a:lnTo>
                <a:close/>
                <a:moveTo>
                  <a:pt x="32" y="72"/>
                </a:moveTo>
                <a:cubicBezTo>
                  <a:pt x="32" y="74"/>
                  <a:pt x="34" y="76"/>
                  <a:pt x="36" y="76"/>
                </a:cubicBezTo>
                <a:cubicBezTo>
                  <a:pt x="108" y="76"/>
                  <a:pt x="108" y="76"/>
                  <a:pt x="108" y="76"/>
                </a:cubicBezTo>
                <a:cubicBezTo>
                  <a:pt x="111" y="76"/>
                  <a:pt x="112" y="74"/>
                  <a:pt x="112" y="72"/>
                </a:cubicBezTo>
                <a:cubicBezTo>
                  <a:pt x="112" y="70"/>
                  <a:pt x="111" y="68"/>
                  <a:pt x="108" y="68"/>
                </a:cubicBezTo>
                <a:cubicBezTo>
                  <a:pt x="36" y="68"/>
                  <a:pt x="36" y="68"/>
                  <a:pt x="36" y="68"/>
                </a:cubicBezTo>
                <a:cubicBezTo>
                  <a:pt x="34" y="68"/>
                  <a:pt x="32" y="70"/>
                  <a:pt x="32" y="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8E9D9189-F766-4C90-AAA1-A5CD23DB9629}"/>
              </a:ext>
            </a:extLst>
          </p:cNvPr>
          <p:cNvGrpSpPr/>
          <p:nvPr/>
        </p:nvGrpSpPr>
        <p:grpSpPr>
          <a:xfrm>
            <a:off x="9534488" y="1709579"/>
            <a:ext cx="472371" cy="357856"/>
            <a:chOff x="2035952" y="4331540"/>
            <a:chExt cx="273569" cy="207249"/>
          </a:xfrm>
          <a:solidFill>
            <a:schemeClr val="bg1"/>
          </a:solidFill>
        </p:grpSpPr>
        <p:sp>
          <p:nvSpPr>
            <p:cNvPr id="184" name="Freeform 109">
              <a:extLst>
                <a:ext uri="{FF2B5EF4-FFF2-40B4-BE49-F238E27FC236}">
                  <a16:creationId xmlns:a16="http://schemas.microsoft.com/office/drawing/2014/main" id="{BFC0F59D-E9B7-4187-8C50-B5A7ED747A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9833" y="4353094"/>
              <a:ext cx="59688" cy="185695"/>
            </a:xfrm>
            <a:custGeom>
              <a:avLst/>
              <a:gdLst>
                <a:gd name="T0" fmla="*/ 38 w 42"/>
                <a:gd name="T1" fmla="*/ 133 h 133"/>
                <a:gd name="T2" fmla="*/ 3 w 42"/>
                <a:gd name="T3" fmla="*/ 133 h 133"/>
                <a:gd name="T4" fmla="*/ 0 w 42"/>
                <a:gd name="T5" fmla="*/ 129 h 133"/>
                <a:gd name="T6" fmla="*/ 0 w 42"/>
                <a:gd name="T7" fmla="*/ 36 h 133"/>
                <a:gd name="T8" fmla="*/ 1 w 42"/>
                <a:gd name="T9" fmla="*/ 33 h 133"/>
                <a:gd name="T10" fmla="*/ 35 w 42"/>
                <a:gd name="T11" fmla="*/ 1 h 133"/>
                <a:gd name="T12" fmla="*/ 39 w 42"/>
                <a:gd name="T13" fmla="*/ 0 h 133"/>
                <a:gd name="T14" fmla="*/ 42 w 42"/>
                <a:gd name="T15" fmla="*/ 4 h 133"/>
                <a:gd name="T16" fmla="*/ 42 w 42"/>
                <a:gd name="T17" fmla="*/ 129 h 133"/>
                <a:gd name="T18" fmla="*/ 38 w 42"/>
                <a:gd name="T19" fmla="*/ 133 h 133"/>
                <a:gd name="T20" fmla="*/ 7 w 42"/>
                <a:gd name="T21" fmla="*/ 125 h 133"/>
                <a:gd name="T22" fmla="*/ 34 w 42"/>
                <a:gd name="T23" fmla="*/ 125 h 133"/>
                <a:gd name="T24" fmla="*/ 34 w 42"/>
                <a:gd name="T25" fmla="*/ 12 h 133"/>
                <a:gd name="T26" fmla="*/ 7 w 42"/>
                <a:gd name="T27" fmla="*/ 37 h 133"/>
                <a:gd name="T28" fmla="*/ 7 w 42"/>
                <a:gd name="T29" fmla="*/ 12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133">
                  <a:moveTo>
                    <a:pt x="38" y="133"/>
                  </a:moveTo>
                  <a:cubicBezTo>
                    <a:pt x="3" y="133"/>
                    <a:pt x="3" y="133"/>
                    <a:pt x="3" y="133"/>
                  </a:cubicBezTo>
                  <a:cubicBezTo>
                    <a:pt x="1" y="133"/>
                    <a:pt x="0" y="131"/>
                    <a:pt x="0" y="129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5"/>
                    <a:pt x="0" y="34"/>
                    <a:pt x="1" y="33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1"/>
                    <a:pt x="42" y="2"/>
                    <a:pt x="42" y="4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31"/>
                    <a:pt x="40" y="133"/>
                    <a:pt x="38" y="133"/>
                  </a:cubicBezTo>
                  <a:close/>
                  <a:moveTo>
                    <a:pt x="7" y="125"/>
                  </a:moveTo>
                  <a:cubicBezTo>
                    <a:pt x="34" y="125"/>
                    <a:pt x="34" y="125"/>
                    <a:pt x="34" y="125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7" y="37"/>
                    <a:pt x="7" y="37"/>
                    <a:pt x="7" y="37"/>
                  </a:cubicBezTo>
                  <a:lnTo>
                    <a:pt x="7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5" name="Freeform 110">
              <a:extLst>
                <a:ext uri="{FF2B5EF4-FFF2-40B4-BE49-F238E27FC236}">
                  <a16:creationId xmlns:a16="http://schemas.microsoft.com/office/drawing/2014/main" id="{74BBB09A-3E4B-408E-BD85-64B317CCAE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8539" y="4411123"/>
              <a:ext cx="61346" cy="127665"/>
            </a:xfrm>
            <a:custGeom>
              <a:avLst/>
              <a:gdLst>
                <a:gd name="T0" fmla="*/ 41 w 44"/>
                <a:gd name="T1" fmla="*/ 92 h 92"/>
                <a:gd name="T2" fmla="*/ 6 w 44"/>
                <a:gd name="T3" fmla="*/ 92 h 92"/>
                <a:gd name="T4" fmla="*/ 2 w 44"/>
                <a:gd name="T5" fmla="*/ 88 h 92"/>
                <a:gd name="T6" fmla="*/ 3 w 44"/>
                <a:gd name="T7" fmla="*/ 4 h 92"/>
                <a:gd name="T8" fmla="*/ 9 w 44"/>
                <a:gd name="T9" fmla="*/ 4 h 92"/>
                <a:gd name="T10" fmla="*/ 21 w 44"/>
                <a:gd name="T11" fmla="*/ 19 h 92"/>
                <a:gd name="T12" fmla="*/ 38 w 44"/>
                <a:gd name="T13" fmla="*/ 2 h 92"/>
                <a:gd name="T14" fmla="*/ 42 w 44"/>
                <a:gd name="T15" fmla="*/ 1 h 92"/>
                <a:gd name="T16" fmla="*/ 44 w 44"/>
                <a:gd name="T17" fmla="*/ 4 h 92"/>
                <a:gd name="T18" fmla="*/ 44 w 44"/>
                <a:gd name="T19" fmla="*/ 88 h 92"/>
                <a:gd name="T20" fmla="*/ 41 w 44"/>
                <a:gd name="T21" fmla="*/ 92 h 92"/>
                <a:gd name="T22" fmla="*/ 10 w 44"/>
                <a:gd name="T23" fmla="*/ 84 h 92"/>
                <a:gd name="T24" fmla="*/ 37 w 44"/>
                <a:gd name="T25" fmla="*/ 84 h 92"/>
                <a:gd name="T26" fmla="*/ 37 w 44"/>
                <a:gd name="T27" fmla="*/ 13 h 92"/>
                <a:gd name="T28" fmla="*/ 23 w 44"/>
                <a:gd name="T29" fmla="*/ 27 h 92"/>
                <a:gd name="T30" fmla="*/ 21 w 44"/>
                <a:gd name="T31" fmla="*/ 28 h 92"/>
                <a:gd name="T32" fmla="*/ 18 w 44"/>
                <a:gd name="T33" fmla="*/ 27 h 92"/>
                <a:gd name="T34" fmla="*/ 9 w 44"/>
                <a:gd name="T35" fmla="*/ 16 h 92"/>
                <a:gd name="T36" fmla="*/ 10 w 44"/>
                <a:gd name="T37" fmla="*/ 8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92">
                  <a:moveTo>
                    <a:pt x="41" y="92"/>
                  </a:moveTo>
                  <a:cubicBezTo>
                    <a:pt x="6" y="92"/>
                    <a:pt x="6" y="92"/>
                    <a:pt x="6" y="92"/>
                  </a:cubicBezTo>
                  <a:cubicBezTo>
                    <a:pt x="4" y="92"/>
                    <a:pt x="2" y="90"/>
                    <a:pt x="2" y="88"/>
                  </a:cubicBezTo>
                  <a:cubicBezTo>
                    <a:pt x="0" y="8"/>
                    <a:pt x="2" y="6"/>
                    <a:pt x="3" y="4"/>
                  </a:cubicBezTo>
                  <a:cubicBezTo>
                    <a:pt x="5" y="3"/>
                    <a:pt x="8" y="3"/>
                    <a:pt x="9" y="4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9" y="1"/>
                    <a:pt x="41" y="0"/>
                    <a:pt x="42" y="1"/>
                  </a:cubicBezTo>
                  <a:cubicBezTo>
                    <a:pt x="43" y="2"/>
                    <a:pt x="44" y="3"/>
                    <a:pt x="44" y="4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4" y="90"/>
                    <a:pt x="43" y="92"/>
                    <a:pt x="41" y="92"/>
                  </a:cubicBezTo>
                  <a:close/>
                  <a:moveTo>
                    <a:pt x="10" y="84"/>
                  </a:moveTo>
                  <a:cubicBezTo>
                    <a:pt x="37" y="84"/>
                    <a:pt x="37" y="84"/>
                    <a:pt x="37" y="84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2" y="28"/>
                    <a:pt x="21" y="28"/>
                  </a:cubicBezTo>
                  <a:cubicBezTo>
                    <a:pt x="20" y="28"/>
                    <a:pt x="19" y="27"/>
                    <a:pt x="18" y="2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29"/>
                    <a:pt x="9" y="58"/>
                    <a:pt x="1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111">
              <a:extLst>
                <a:ext uri="{FF2B5EF4-FFF2-40B4-BE49-F238E27FC236}">
                  <a16:creationId xmlns:a16="http://schemas.microsoft.com/office/drawing/2014/main" id="{CCAB8F6E-59F1-4BBB-A2DF-2DC5653969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2220" y="4384596"/>
              <a:ext cx="58030" cy="150877"/>
            </a:xfrm>
            <a:custGeom>
              <a:avLst/>
              <a:gdLst>
                <a:gd name="T0" fmla="*/ 38 w 42"/>
                <a:gd name="T1" fmla="*/ 108 h 108"/>
                <a:gd name="T2" fmla="*/ 4 w 42"/>
                <a:gd name="T3" fmla="*/ 108 h 108"/>
                <a:gd name="T4" fmla="*/ 0 w 42"/>
                <a:gd name="T5" fmla="*/ 105 h 108"/>
                <a:gd name="T6" fmla="*/ 0 w 42"/>
                <a:gd name="T7" fmla="*/ 23 h 108"/>
                <a:gd name="T8" fmla="*/ 1 w 42"/>
                <a:gd name="T9" fmla="*/ 21 h 108"/>
                <a:gd name="T10" fmla="*/ 21 w 42"/>
                <a:gd name="T11" fmla="*/ 1 h 108"/>
                <a:gd name="T12" fmla="*/ 24 w 42"/>
                <a:gd name="T13" fmla="*/ 0 h 108"/>
                <a:gd name="T14" fmla="*/ 26 w 42"/>
                <a:gd name="T15" fmla="*/ 1 h 108"/>
                <a:gd name="T16" fmla="*/ 41 w 42"/>
                <a:gd name="T17" fmla="*/ 19 h 108"/>
                <a:gd name="T18" fmla="*/ 42 w 42"/>
                <a:gd name="T19" fmla="*/ 21 h 108"/>
                <a:gd name="T20" fmla="*/ 42 w 42"/>
                <a:gd name="T21" fmla="*/ 105 h 108"/>
                <a:gd name="T22" fmla="*/ 38 w 42"/>
                <a:gd name="T23" fmla="*/ 108 h 108"/>
                <a:gd name="T24" fmla="*/ 7 w 42"/>
                <a:gd name="T25" fmla="*/ 101 h 108"/>
                <a:gd name="T26" fmla="*/ 35 w 42"/>
                <a:gd name="T27" fmla="*/ 101 h 108"/>
                <a:gd name="T28" fmla="*/ 35 w 42"/>
                <a:gd name="T29" fmla="*/ 22 h 108"/>
                <a:gd name="T30" fmla="*/ 23 w 42"/>
                <a:gd name="T31" fmla="*/ 9 h 108"/>
                <a:gd name="T32" fmla="*/ 7 w 42"/>
                <a:gd name="T33" fmla="*/ 25 h 108"/>
                <a:gd name="T34" fmla="*/ 7 w 42"/>
                <a:gd name="T35" fmla="*/ 10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108">
                  <a:moveTo>
                    <a:pt x="38" y="108"/>
                  </a:moveTo>
                  <a:cubicBezTo>
                    <a:pt x="4" y="108"/>
                    <a:pt x="4" y="108"/>
                    <a:pt x="4" y="108"/>
                  </a:cubicBezTo>
                  <a:cubicBezTo>
                    <a:pt x="2" y="108"/>
                    <a:pt x="0" y="107"/>
                    <a:pt x="0" y="10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2"/>
                    <a:pt x="0" y="21"/>
                    <a:pt x="1" y="2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2" y="0"/>
                    <a:pt x="23" y="0"/>
                    <a:pt x="24" y="0"/>
                  </a:cubicBezTo>
                  <a:cubicBezTo>
                    <a:pt x="25" y="0"/>
                    <a:pt x="26" y="1"/>
                    <a:pt x="26" y="1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2" y="19"/>
                    <a:pt x="42" y="20"/>
                    <a:pt x="42" y="21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7"/>
                    <a:pt x="40" y="108"/>
                    <a:pt x="38" y="108"/>
                  </a:cubicBezTo>
                  <a:close/>
                  <a:moveTo>
                    <a:pt x="7" y="101"/>
                  </a:moveTo>
                  <a:cubicBezTo>
                    <a:pt x="35" y="101"/>
                    <a:pt x="35" y="101"/>
                    <a:pt x="35" y="101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7" y="25"/>
                    <a:pt x="7" y="25"/>
                    <a:pt x="7" y="25"/>
                  </a:cubicBezTo>
                  <a:lnTo>
                    <a:pt x="7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112">
              <a:extLst>
                <a:ext uri="{FF2B5EF4-FFF2-40B4-BE49-F238E27FC236}">
                  <a16:creationId xmlns:a16="http://schemas.microsoft.com/office/drawing/2014/main" id="{A51DBE5E-BB68-4C21-BAAF-891430458D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9268" y="4429361"/>
              <a:ext cx="66320" cy="109427"/>
            </a:xfrm>
            <a:custGeom>
              <a:avLst/>
              <a:gdLst>
                <a:gd name="T0" fmla="*/ 43 w 47"/>
                <a:gd name="T1" fmla="*/ 79 h 79"/>
                <a:gd name="T2" fmla="*/ 4 w 47"/>
                <a:gd name="T3" fmla="*/ 79 h 79"/>
                <a:gd name="T4" fmla="*/ 0 w 47"/>
                <a:gd name="T5" fmla="*/ 75 h 79"/>
                <a:gd name="T6" fmla="*/ 0 w 47"/>
                <a:gd name="T7" fmla="*/ 38 h 79"/>
                <a:gd name="T8" fmla="*/ 2 w 47"/>
                <a:gd name="T9" fmla="*/ 36 h 79"/>
                <a:gd name="T10" fmla="*/ 38 w 47"/>
                <a:gd name="T11" fmla="*/ 1 h 79"/>
                <a:gd name="T12" fmla="*/ 42 w 47"/>
                <a:gd name="T13" fmla="*/ 0 h 79"/>
                <a:gd name="T14" fmla="*/ 45 w 47"/>
                <a:gd name="T15" fmla="*/ 4 h 79"/>
                <a:gd name="T16" fmla="*/ 47 w 47"/>
                <a:gd name="T17" fmla="*/ 75 h 79"/>
                <a:gd name="T18" fmla="*/ 46 w 47"/>
                <a:gd name="T19" fmla="*/ 78 h 79"/>
                <a:gd name="T20" fmla="*/ 43 w 47"/>
                <a:gd name="T21" fmla="*/ 79 h 79"/>
                <a:gd name="T22" fmla="*/ 8 w 47"/>
                <a:gd name="T23" fmla="*/ 71 h 79"/>
                <a:gd name="T24" fmla="*/ 40 w 47"/>
                <a:gd name="T25" fmla="*/ 71 h 79"/>
                <a:gd name="T26" fmla="*/ 38 w 47"/>
                <a:gd name="T27" fmla="*/ 12 h 79"/>
                <a:gd name="T28" fmla="*/ 8 w 47"/>
                <a:gd name="T29" fmla="*/ 40 h 79"/>
                <a:gd name="T30" fmla="*/ 8 w 47"/>
                <a:gd name="T31" fmla="*/ 7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7" h="79">
                  <a:moveTo>
                    <a:pt x="43" y="79"/>
                  </a:moveTo>
                  <a:cubicBezTo>
                    <a:pt x="4" y="79"/>
                    <a:pt x="4" y="79"/>
                    <a:pt x="4" y="79"/>
                  </a:cubicBezTo>
                  <a:cubicBezTo>
                    <a:pt x="2" y="79"/>
                    <a:pt x="0" y="77"/>
                    <a:pt x="0" y="75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7"/>
                    <a:pt x="1" y="36"/>
                    <a:pt x="2" y="36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0" y="0"/>
                    <a:pt x="41" y="0"/>
                    <a:pt x="42" y="0"/>
                  </a:cubicBezTo>
                  <a:cubicBezTo>
                    <a:pt x="44" y="1"/>
                    <a:pt x="45" y="2"/>
                    <a:pt x="45" y="4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6"/>
                    <a:pt x="47" y="77"/>
                    <a:pt x="46" y="78"/>
                  </a:cubicBezTo>
                  <a:cubicBezTo>
                    <a:pt x="45" y="78"/>
                    <a:pt x="44" y="79"/>
                    <a:pt x="43" y="79"/>
                  </a:cubicBezTo>
                  <a:close/>
                  <a:moveTo>
                    <a:pt x="8" y="71"/>
                  </a:moveTo>
                  <a:cubicBezTo>
                    <a:pt x="40" y="71"/>
                    <a:pt x="40" y="71"/>
                    <a:pt x="40" y="71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8" y="40"/>
                    <a:pt x="8" y="40"/>
                    <a:pt x="8" y="40"/>
                  </a:cubicBezTo>
                  <a:lnTo>
                    <a:pt x="8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113">
              <a:extLst>
                <a:ext uri="{FF2B5EF4-FFF2-40B4-BE49-F238E27FC236}">
                  <a16:creationId xmlns:a16="http://schemas.microsoft.com/office/drawing/2014/main" id="{A3C011C1-1E37-42A1-9AB1-040D82F2A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5952" y="4341488"/>
              <a:ext cx="247040" cy="121033"/>
            </a:xfrm>
            <a:custGeom>
              <a:avLst/>
              <a:gdLst>
                <a:gd name="T0" fmla="*/ 5 w 178"/>
                <a:gd name="T1" fmla="*/ 87 h 87"/>
                <a:gd name="T2" fmla="*/ 0 w 178"/>
                <a:gd name="T3" fmla="*/ 81 h 87"/>
                <a:gd name="T4" fmla="*/ 73 w 178"/>
                <a:gd name="T5" fmla="*/ 10 h 87"/>
                <a:gd name="T6" fmla="*/ 78 w 178"/>
                <a:gd name="T7" fmla="*/ 10 h 87"/>
                <a:gd name="T8" fmla="*/ 123 w 178"/>
                <a:gd name="T9" fmla="*/ 45 h 87"/>
                <a:gd name="T10" fmla="*/ 173 w 178"/>
                <a:gd name="T11" fmla="*/ 0 h 87"/>
                <a:gd name="T12" fmla="*/ 178 w 178"/>
                <a:gd name="T13" fmla="*/ 5 h 87"/>
                <a:gd name="T14" fmla="*/ 125 w 178"/>
                <a:gd name="T15" fmla="*/ 52 h 87"/>
                <a:gd name="T16" fmla="*/ 121 w 178"/>
                <a:gd name="T17" fmla="*/ 52 h 87"/>
                <a:gd name="T18" fmla="*/ 76 w 178"/>
                <a:gd name="T19" fmla="*/ 17 h 87"/>
                <a:gd name="T20" fmla="*/ 5 w 178"/>
                <a:gd name="T2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8" h="87">
                  <a:moveTo>
                    <a:pt x="5" y="87"/>
                  </a:moveTo>
                  <a:cubicBezTo>
                    <a:pt x="0" y="81"/>
                    <a:pt x="0" y="81"/>
                    <a:pt x="0" y="81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5" y="9"/>
                    <a:pt x="77" y="8"/>
                    <a:pt x="78" y="10"/>
                  </a:cubicBezTo>
                  <a:cubicBezTo>
                    <a:pt x="123" y="45"/>
                    <a:pt x="123" y="45"/>
                    <a:pt x="123" y="45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24" y="53"/>
                    <a:pt x="122" y="53"/>
                    <a:pt x="121" y="52"/>
                  </a:cubicBezTo>
                  <a:cubicBezTo>
                    <a:pt x="76" y="17"/>
                    <a:pt x="76" y="17"/>
                    <a:pt x="76" y="17"/>
                  </a:cubicBezTo>
                  <a:lnTo>
                    <a:pt x="5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114">
              <a:extLst>
                <a:ext uri="{FF2B5EF4-FFF2-40B4-BE49-F238E27FC236}">
                  <a16:creationId xmlns:a16="http://schemas.microsoft.com/office/drawing/2014/main" id="{3A6B5B0C-F3A1-42A1-B498-D1B4C67B7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8071" y="4331540"/>
              <a:ext cx="28186" cy="26528"/>
            </a:xfrm>
            <a:custGeom>
              <a:avLst/>
              <a:gdLst>
                <a:gd name="T0" fmla="*/ 11 w 17"/>
                <a:gd name="T1" fmla="*/ 16 h 16"/>
                <a:gd name="T2" fmla="*/ 17 w 17"/>
                <a:gd name="T3" fmla="*/ 0 h 16"/>
                <a:gd name="T4" fmla="*/ 0 w 17"/>
                <a:gd name="T5" fmla="*/ 3 h 16"/>
                <a:gd name="T6" fmla="*/ 11 w 17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6">
                  <a:moveTo>
                    <a:pt x="11" y="16"/>
                  </a:moveTo>
                  <a:lnTo>
                    <a:pt x="17" y="0"/>
                  </a:lnTo>
                  <a:lnTo>
                    <a:pt x="0" y="3"/>
                  </a:lnTo>
                  <a:lnTo>
                    <a:pt x="11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90" name="Freeform 43">
            <a:extLst>
              <a:ext uri="{FF2B5EF4-FFF2-40B4-BE49-F238E27FC236}">
                <a16:creationId xmlns:a16="http://schemas.microsoft.com/office/drawing/2014/main" id="{2DC54F32-B9D6-49FD-8CA2-527452D36CF2}"/>
              </a:ext>
            </a:extLst>
          </p:cNvPr>
          <p:cNvSpPr>
            <a:spLocks noEditPoints="1"/>
          </p:cNvSpPr>
          <p:nvPr/>
        </p:nvSpPr>
        <p:spPr bwMode="auto">
          <a:xfrm>
            <a:off x="10941337" y="1709579"/>
            <a:ext cx="424877" cy="427616"/>
          </a:xfrm>
          <a:custGeom>
            <a:avLst/>
            <a:gdLst>
              <a:gd name="T0" fmla="*/ 155 w 175"/>
              <a:gd name="T1" fmla="*/ 0 h 176"/>
              <a:gd name="T2" fmla="*/ 136 w 175"/>
              <a:gd name="T3" fmla="*/ 20 h 176"/>
              <a:gd name="T4" fmla="*/ 152 w 175"/>
              <a:gd name="T5" fmla="*/ 40 h 176"/>
              <a:gd name="T6" fmla="*/ 152 w 175"/>
              <a:gd name="T7" fmla="*/ 84 h 176"/>
              <a:gd name="T8" fmla="*/ 107 w 175"/>
              <a:gd name="T9" fmla="*/ 84 h 176"/>
              <a:gd name="T10" fmla="*/ 87 w 175"/>
              <a:gd name="T11" fmla="*/ 68 h 176"/>
              <a:gd name="T12" fmla="*/ 68 w 175"/>
              <a:gd name="T13" fmla="*/ 84 h 176"/>
              <a:gd name="T14" fmla="*/ 20 w 175"/>
              <a:gd name="T15" fmla="*/ 84 h 176"/>
              <a:gd name="T16" fmla="*/ 16 w 175"/>
              <a:gd name="T17" fmla="*/ 88 h 176"/>
              <a:gd name="T18" fmla="*/ 16 w 175"/>
              <a:gd name="T19" fmla="*/ 136 h 176"/>
              <a:gd name="T20" fmla="*/ 0 w 175"/>
              <a:gd name="T21" fmla="*/ 156 h 176"/>
              <a:gd name="T22" fmla="*/ 19 w 175"/>
              <a:gd name="T23" fmla="*/ 176 h 176"/>
              <a:gd name="T24" fmla="*/ 39 w 175"/>
              <a:gd name="T25" fmla="*/ 156 h 176"/>
              <a:gd name="T26" fmla="*/ 24 w 175"/>
              <a:gd name="T27" fmla="*/ 136 h 176"/>
              <a:gd name="T28" fmla="*/ 24 w 175"/>
              <a:gd name="T29" fmla="*/ 92 h 176"/>
              <a:gd name="T30" fmla="*/ 68 w 175"/>
              <a:gd name="T31" fmla="*/ 92 h 176"/>
              <a:gd name="T32" fmla="*/ 87 w 175"/>
              <a:gd name="T33" fmla="*/ 108 h 176"/>
              <a:gd name="T34" fmla="*/ 107 w 175"/>
              <a:gd name="T35" fmla="*/ 92 h 176"/>
              <a:gd name="T36" fmla="*/ 156 w 175"/>
              <a:gd name="T37" fmla="*/ 92 h 176"/>
              <a:gd name="T38" fmla="*/ 160 w 175"/>
              <a:gd name="T39" fmla="*/ 88 h 176"/>
              <a:gd name="T40" fmla="*/ 160 w 175"/>
              <a:gd name="T41" fmla="*/ 40 h 176"/>
              <a:gd name="T42" fmla="*/ 175 w 175"/>
              <a:gd name="T43" fmla="*/ 20 h 176"/>
              <a:gd name="T44" fmla="*/ 155 w 175"/>
              <a:gd name="T45" fmla="*/ 0 h 176"/>
              <a:gd name="T46" fmla="*/ 32 w 175"/>
              <a:gd name="T47" fmla="*/ 156 h 176"/>
              <a:gd name="T48" fmla="*/ 20 w 175"/>
              <a:gd name="T49" fmla="*/ 168 h 176"/>
              <a:gd name="T50" fmla="*/ 8 w 175"/>
              <a:gd name="T51" fmla="*/ 156 h 176"/>
              <a:gd name="T52" fmla="*/ 20 w 175"/>
              <a:gd name="T53" fmla="*/ 144 h 176"/>
              <a:gd name="T54" fmla="*/ 32 w 175"/>
              <a:gd name="T55" fmla="*/ 156 h 176"/>
              <a:gd name="T56" fmla="*/ 88 w 175"/>
              <a:gd name="T57" fmla="*/ 100 h 176"/>
              <a:gd name="T58" fmla="*/ 76 w 175"/>
              <a:gd name="T59" fmla="*/ 88 h 176"/>
              <a:gd name="T60" fmla="*/ 88 w 175"/>
              <a:gd name="T61" fmla="*/ 76 h 176"/>
              <a:gd name="T62" fmla="*/ 100 w 175"/>
              <a:gd name="T63" fmla="*/ 88 h 176"/>
              <a:gd name="T64" fmla="*/ 88 w 175"/>
              <a:gd name="T65" fmla="*/ 100 h 176"/>
              <a:gd name="T66" fmla="*/ 156 w 175"/>
              <a:gd name="T67" fmla="*/ 32 h 176"/>
              <a:gd name="T68" fmla="*/ 144 w 175"/>
              <a:gd name="T69" fmla="*/ 20 h 176"/>
              <a:gd name="T70" fmla="*/ 156 w 175"/>
              <a:gd name="T71" fmla="*/ 8 h 176"/>
              <a:gd name="T72" fmla="*/ 168 w 175"/>
              <a:gd name="T73" fmla="*/ 20 h 176"/>
              <a:gd name="T74" fmla="*/ 156 w 175"/>
              <a:gd name="T75" fmla="*/ 32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75" h="176">
                <a:moveTo>
                  <a:pt x="155" y="0"/>
                </a:moveTo>
                <a:cubicBezTo>
                  <a:pt x="144" y="0"/>
                  <a:pt x="136" y="9"/>
                  <a:pt x="136" y="20"/>
                </a:cubicBezTo>
                <a:cubicBezTo>
                  <a:pt x="136" y="30"/>
                  <a:pt x="142" y="38"/>
                  <a:pt x="152" y="40"/>
                </a:cubicBezTo>
                <a:cubicBezTo>
                  <a:pt x="152" y="84"/>
                  <a:pt x="152" y="84"/>
                  <a:pt x="152" y="84"/>
                </a:cubicBezTo>
                <a:cubicBezTo>
                  <a:pt x="107" y="84"/>
                  <a:pt x="107" y="84"/>
                  <a:pt x="107" y="84"/>
                </a:cubicBezTo>
                <a:cubicBezTo>
                  <a:pt x="105" y="75"/>
                  <a:pt x="97" y="68"/>
                  <a:pt x="87" y="68"/>
                </a:cubicBezTo>
                <a:cubicBezTo>
                  <a:pt x="78" y="68"/>
                  <a:pt x="70" y="75"/>
                  <a:pt x="68" y="84"/>
                </a:cubicBezTo>
                <a:cubicBezTo>
                  <a:pt x="20" y="84"/>
                  <a:pt x="20" y="84"/>
                  <a:pt x="20" y="84"/>
                </a:cubicBezTo>
                <a:cubicBezTo>
                  <a:pt x="17" y="84"/>
                  <a:pt x="16" y="86"/>
                  <a:pt x="16" y="88"/>
                </a:cubicBezTo>
                <a:cubicBezTo>
                  <a:pt x="16" y="136"/>
                  <a:pt x="16" y="136"/>
                  <a:pt x="16" y="136"/>
                </a:cubicBezTo>
                <a:cubicBezTo>
                  <a:pt x="6" y="138"/>
                  <a:pt x="0" y="146"/>
                  <a:pt x="0" y="156"/>
                </a:cubicBezTo>
                <a:cubicBezTo>
                  <a:pt x="0" y="167"/>
                  <a:pt x="8" y="176"/>
                  <a:pt x="19" y="176"/>
                </a:cubicBezTo>
                <a:cubicBezTo>
                  <a:pt x="31" y="176"/>
                  <a:pt x="39" y="167"/>
                  <a:pt x="39" y="156"/>
                </a:cubicBezTo>
                <a:cubicBezTo>
                  <a:pt x="39" y="146"/>
                  <a:pt x="33" y="138"/>
                  <a:pt x="24" y="136"/>
                </a:cubicBezTo>
                <a:cubicBezTo>
                  <a:pt x="24" y="92"/>
                  <a:pt x="24" y="92"/>
                  <a:pt x="24" y="92"/>
                </a:cubicBezTo>
                <a:cubicBezTo>
                  <a:pt x="68" y="92"/>
                  <a:pt x="68" y="92"/>
                  <a:pt x="68" y="92"/>
                </a:cubicBezTo>
                <a:cubicBezTo>
                  <a:pt x="70" y="101"/>
                  <a:pt x="78" y="108"/>
                  <a:pt x="87" y="108"/>
                </a:cubicBezTo>
                <a:cubicBezTo>
                  <a:pt x="97" y="108"/>
                  <a:pt x="105" y="101"/>
                  <a:pt x="107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58" y="92"/>
                  <a:pt x="160" y="90"/>
                  <a:pt x="160" y="88"/>
                </a:cubicBezTo>
                <a:cubicBezTo>
                  <a:pt x="160" y="40"/>
                  <a:pt x="160" y="40"/>
                  <a:pt x="160" y="40"/>
                </a:cubicBezTo>
                <a:cubicBezTo>
                  <a:pt x="169" y="38"/>
                  <a:pt x="175" y="30"/>
                  <a:pt x="175" y="20"/>
                </a:cubicBezTo>
                <a:cubicBezTo>
                  <a:pt x="175" y="9"/>
                  <a:pt x="167" y="0"/>
                  <a:pt x="155" y="0"/>
                </a:cubicBezTo>
                <a:close/>
                <a:moveTo>
                  <a:pt x="32" y="156"/>
                </a:moveTo>
                <a:cubicBezTo>
                  <a:pt x="32" y="163"/>
                  <a:pt x="26" y="168"/>
                  <a:pt x="20" y="168"/>
                </a:cubicBezTo>
                <a:cubicBezTo>
                  <a:pt x="13" y="168"/>
                  <a:pt x="8" y="163"/>
                  <a:pt x="8" y="156"/>
                </a:cubicBezTo>
                <a:cubicBezTo>
                  <a:pt x="8" y="149"/>
                  <a:pt x="13" y="144"/>
                  <a:pt x="20" y="144"/>
                </a:cubicBezTo>
                <a:cubicBezTo>
                  <a:pt x="26" y="144"/>
                  <a:pt x="32" y="149"/>
                  <a:pt x="32" y="156"/>
                </a:cubicBezTo>
                <a:close/>
                <a:moveTo>
                  <a:pt x="88" y="100"/>
                </a:moveTo>
                <a:cubicBezTo>
                  <a:pt x="81" y="100"/>
                  <a:pt x="76" y="95"/>
                  <a:pt x="76" y="88"/>
                </a:cubicBezTo>
                <a:cubicBezTo>
                  <a:pt x="76" y="81"/>
                  <a:pt x="81" y="76"/>
                  <a:pt x="88" y="76"/>
                </a:cubicBezTo>
                <a:cubicBezTo>
                  <a:pt x="94" y="76"/>
                  <a:pt x="100" y="81"/>
                  <a:pt x="100" y="88"/>
                </a:cubicBezTo>
                <a:cubicBezTo>
                  <a:pt x="100" y="95"/>
                  <a:pt x="94" y="100"/>
                  <a:pt x="88" y="100"/>
                </a:cubicBezTo>
                <a:close/>
                <a:moveTo>
                  <a:pt x="156" y="32"/>
                </a:moveTo>
                <a:cubicBezTo>
                  <a:pt x="149" y="32"/>
                  <a:pt x="144" y="27"/>
                  <a:pt x="144" y="20"/>
                </a:cubicBezTo>
                <a:cubicBezTo>
                  <a:pt x="144" y="13"/>
                  <a:pt x="149" y="8"/>
                  <a:pt x="156" y="8"/>
                </a:cubicBezTo>
                <a:cubicBezTo>
                  <a:pt x="162" y="8"/>
                  <a:pt x="168" y="13"/>
                  <a:pt x="168" y="20"/>
                </a:cubicBezTo>
                <a:cubicBezTo>
                  <a:pt x="168" y="27"/>
                  <a:pt x="162" y="32"/>
                  <a:pt x="156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1" name="Freeform 5">
            <a:extLst>
              <a:ext uri="{FF2B5EF4-FFF2-40B4-BE49-F238E27FC236}">
                <a16:creationId xmlns:a16="http://schemas.microsoft.com/office/drawing/2014/main" id="{E3C2ED7E-46EB-4586-9010-ABE69C43C89F}"/>
              </a:ext>
            </a:extLst>
          </p:cNvPr>
          <p:cNvSpPr>
            <a:spLocks noEditPoints="1"/>
          </p:cNvSpPr>
          <p:nvPr/>
        </p:nvSpPr>
        <p:spPr bwMode="auto">
          <a:xfrm>
            <a:off x="5508792" y="1709579"/>
            <a:ext cx="422135" cy="427616"/>
          </a:xfrm>
          <a:custGeom>
            <a:avLst/>
            <a:gdLst>
              <a:gd name="T0" fmla="*/ 48 w 176"/>
              <a:gd name="T1" fmla="*/ 88 h 176"/>
              <a:gd name="T2" fmla="*/ 128 w 176"/>
              <a:gd name="T3" fmla="*/ 88 h 176"/>
              <a:gd name="T4" fmla="*/ 88 w 176"/>
              <a:gd name="T5" fmla="*/ 120 h 176"/>
              <a:gd name="T6" fmla="*/ 88 w 176"/>
              <a:gd name="T7" fmla="*/ 56 h 176"/>
              <a:gd name="T8" fmla="*/ 88 w 176"/>
              <a:gd name="T9" fmla="*/ 120 h 176"/>
              <a:gd name="T10" fmla="*/ 161 w 176"/>
              <a:gd name="T11" fmla="*/ 68 h 176"/>
              <a:gd name="T12" fmla="*/ 158 w 176"/>
              <a:gd name="T13" fmla="*/ 42 h 176"/>
              <a:gd name="T14" fmla="*/ 142 w 176"/>
              <a:gd name="T15" fmla="*/ 17 h 176"/>
              <a:gd name="T16" fmla="*/ 133 w 176"/>
              <a:gd name="T17" fmla="*/ 17 h 176"/>
              <a:gd name="T18" fmla="*/ 107 w 176"/>
              <a:gd name="T19" fmla="*/ 14 h 176"/>
              <a:gd name="T20" fmla="*/ 99 w 176"/>
              <a:gd name="T21" fmla="*/ 0 h 176"/>
              <a:gd name="T22" fmla="*/ 70 w 176"/>
              <a:gd name="T23" fmla="*/ 6 h 176"/>
              <a:gd name="T24" fmla="*/ 50 w 176"/>
              <a:gd name="T25" fmla="*/ 22 h 176"/>
              <a:gd name="T26" fmla="*/ 37 w 176"/>
              <a:gd name="T27" fmla="*/ 16 h 176"/>
              <a:gd name="T28" fmla="*/ 17 w 176"/>
              <a:gd name="T29" fmla="*/ 34 h 176"/>
              <a:gd name="T30" fmla="*/ 22 w 176"/>
              <a:gd name="T31" fmla="*/ 50 h 176"/>
              <a:gd name="T32" fmla="*/ 6 w 176"/>
              <a:gd name="T33" fmla="*/ 70 h 176"/>
              <a:gd name="T34" fmla="*/ 0 w 176"/>
              <a:gd name="T35" fmla="*/ 100 h 176"/>
              <a:gd name="T36" fmla="*/ 14 w 176"/>
              <a:gd name="T37" fmla="*/ 108 h 176"/>
              <a:gd name="T38" fmla="*/ 17 w 176"/>
              <a:gd name="T39" fmla="*/ 134 h 176"/>
              <a:gd name="T40" fmla="*/ 34 w 176"/>
              <a:gd name="T41" fmla="*/ 158 h 176"/>
              <a:gd name="T42" fmla="*/ 42 w 176"/>
              <a:gd name="T43" fmla="*/ 158 h 176"/>
              <a:gd name="T44" fmla="*/ 68 w 176"/>
              <a:gd name="T45" fmla="*/ 161 h 176"/>
              <a:gd name="T46" fmla="*/ 76 w 176"/>
              <a:gd name="T47" fmla="*/ 176 h 176"/>
              <a:gd name="T48" fmla="*/ 105 w 176"/>
              <a:gd name="T49" fmla="*/ 170 h 176"/>
              <a:gd name="T50" fmla="*/ 126 w 176"/>
              <a:gd name="T51" fmla="*/ 154 h 176"/>
              <a:gd name="T52" fmla="*/ 138 w 176"/>
              <a:gd name="T53" fmla="*/ 160 h 176"/>
              <a:gd name="T54" fmla="*/ 158 w 176"/>
              <a:gd name="T55" fmla="*/ 142 h 176"/>
              <a:gd name="T56" fmla="*/ 154 w 176"/>
              <a:gd name="T57" fmla="*/ 126 h 176"/>
              <a:gd name="T58" fmla="*/ 170 w 176"/>
              <a:gd name="T59" fmla="*/ 105 h 176"/>
              <a:gd name="T60" fmla="*/ 176 w 176"/>
              <a:gd name="T61" fmla="*/ 76 h 176"/>
              <a:gd name="T62" fmla="*/ 168 w 176"/>
              <a:gd name="T63" fmla="*/ 98 h 176"/>
              <a:gd name="T64" fmla="*/ 159 w 176"/>
              <a:gd name="T65" fmla="*/ 100 h 176"/>
              <a:gd name="T66" fmla="*/ 147 w 176"/>
              <a:gd name="T67" fmla="*/ 122 h 176"/>
              <a:gd name="T68" fmla="*/ 151 w 176"/>
              <a:gd name="T69" fmla="*/ 137 h 176"/>
              <a:gd name="T70" fmla="*/ 137 w 176"/>
              <a:gd name="T71" fmla="*/ 151 h 176"/>
              <a:gd name="T72" fmla="*/ 126 w 176"/>
              <a:gd name="T73" fmla="*/ 146 h 176"/>
              <a:gd name="T74" fmla="*/ 105 w 176"/>
              <a:gd name="T75" fmla="*/ 154 h 176"/>
              <a:gd name="T76" fmla="*/ 98 w 176"/>
              <a:gd name="T77" fmla="*/ 168 h 176"/>
              <a:gd name="T78" fmla="*/ 78 w 176"/>
              <a:gd name="T79" fmla="*/ 168 h 176"/>
              <a:gd name="T80" fmla="*/ 70 w 176"/>
              <a:gd name="T81" fmla="*/ 154 h 176"/>
              <a:gd name="T82" fmla="*/ 50 w 176"/>
              <a:gd name="T83" fmla="*/ 146 h 176"/>
              <a:gd name="T84" fmla="*/ 38 w 176"/>
              <a:gd name="T85" fmla="*/ 151 h 176"/>
              <a:gd name="T86" fmla="*/ 24 w 176"/>
              <a:gd name="T87" fmla="*/ 137 h 176"/>
              <a:gd name="T88" fmla="*/ 29 w 176"/>
              <a:gd name="T89" fmla="*/ 122 h 176"/>
              <a:gd name="T90" fmla="*/ 16 w 176"/>
              <a:gd name="T91" fmla="*/ 100 h 176"/>
              <a:gd name="T92" fmla="*/ 8 w 176"/>
              <a:gd name="T93" fmla="*/ 98 h 176"/>
              <a:gd name="T94" fmla="*/ 16 w 176"/>
              <a:gd name="T95" fmla="*/ 76 h 176"/>
              <a:gd name="T96" fmla="*/ 29 w 176"/>
              <a:gd name="T97" fmla="*/ 54 h 176"/>
              <a:gd name="T98" fmla="*/ 24 w 176"/>
              <a:gd name="T99" fmla="*/ 38 h 176"/>
              <a:gd name="T100" fmla="*/ 38 w 176"/>
              <a:gd name="T101" fmla="*/ 24 h 176"/>
              <a:gd name="T102" fmla="*/ 50 w 176"/>
              <a:gd name="T103" fmla="*/ 30 h 176"/>
              <a:gd name="T104" fmla="*/ 70 w 176"/>
              <a:gd name="T105" fmla="*/ 22 h 176"/>
              <a:gd name="T106" fmla="*/ 78 w 176"/>
              <a:gd name="T107" fmla="*/ 8 h 176"/>
              <a:gd name="T108" fmla="*/ 98 w 176"/>
              <a:gd name="T109" fmla="*/ 8 h 176"/>
              <a:gd name="T110" fmla="*/ 105 w 176"/>
              <a:gd name="T111" fmla="*/ 22 h 176"/>
              <a:gd name="T112" fmla="*/ 126 w 176"/>
              <a:gd name="T113" fmla="*/ 30 h 176"/>
              <a:gd name="T114" fmla="*/ 137 w 176"/>
              <a:gd name="T115" fmla="*/ 24 h 176"/>
              <a:gd name="T116" fmla="*/ 151 w 176"/>
              <a:gd name="T117" fmla="*/ 38 h 176"/>
              <a:gd name="T118" fmla="*/ 147 w 176"/>
              <a:gd name="T119" fmla="*/ 54 h 176"/>
              <a:gd name="T120" fmla="*/ 159 w 176"/>
              <a:gd name="T121" fmla="*/ 76 h 176"/>
              <a:gd name="T122" fmla="*/ 168 w 176"/>
              <a:gd name="T123" fmla="*/ 98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" h="176">
                <a:moveTo>
                  <a:pt x="88" y="48"/>
                </a:moveTo>
                <a:cubicBezTo>
                  <a:pt x="66" y="48"/>
                  <a:pt x="48" y="66"/>
                  <a:pt x="48" y="88"/>
                </a:cubicBezTo>
                <a:cubicBezTo>
                  <a:pt x="48" y="110"/>
                  <a:pt x="66" y="128"/>
                  <a:pt x="88" y="128"/>
                </a:cubicBezTo>
                <a:cubicBezTo>
                  <a:pt x="110" y="128"/>
                  <a:pt x="128" y="110"/>
                  <a:pt x="128" y="88"/>
                </a:cubicBezTo>
                <a:cubicBezTo>
                  <a:pt x="128" y="66"/>
                  <a:pt x="110" y="48"/>
                  <a:pt x="88" y="48"/>
                </a:cubicBezTo>
                <a:close/>
                <a:moveTo>
                  <a:pt x="88" y="120"/>
                </a:moveTo>
                <a:cubicBezTo>
                  <a:pt x="70" y="120"/>
                  <a:pt x="56" y="106"/>
                  <a:pt x="56" y="88"/>
                </a:cubicBezTo>
                <a:cubicBezTo>
                  <a:pt x="56" y="70"/>
                  <a:pt x="70" y="56"/>
                  <a:pt x="88" y="56"/>
                </a:cubicBezTo>
                <a:cubicBezTo>
                  <a:pt x="105" y="56"/>
                  <a:pt x="120" y="70"/>
                  <a:pt x="120" y="88"/>
                </a:cubicBezTo>
                <a:cubicBezTo>
                  <a:pt x="120" y="106"/>
                  <a:pt x="105" y="120"/>
                  <a:pt x="88" y="120"/>
                </a:cubicBezTo>
                <a:close/>
                <a:moveTo>
                  <a:pt x="170" y="70"/>
                </a:moveTo>
                <a:cubicBezTo>
                  <a:pt x="161" y="68"/>
                  <a:pt x="161" y="68"/>
                  <a:pt x="161" y="68"/>
                </a:cubicBezTo>
                <a:cubicBezTo>
                  <a:pt x="160" y="62"/>
                  <a:pt x="157" y="55"/>
                  <a:pt x="154" y="50"/>
                </a:cubicBezTo>
                <a:cubicBezTo>
                  <a:pt x="158" y="42"/>
                  <a:pt x="158" y="42"/>
                  <a:pt x="158" y="42"/>
                </a:cubicBezTo>
                <a:cubicBezTo>
                  <a:pt x="160" y="40"/>
                  <a:pt x="160" y="36"/>
                  <a:pt x="158" y="34"/>
                </a:cubicBezTo>
                <a:cubicBezTo>
                  <a:pt x="142" y="17"/>
                  <a:pt x="142" y="17"/>
                  <a:pt x="142" y="17"/>
                </a:cubicBezTo>
                <a:cubicBezTo>
                  <a:pt x="141" y="16"/>
                  <a:pt x="139" y="16"/>
                  <a:pt x="138" y="16"/>
                </a:cubicBezTo>
                <a:cubicBezTo>
                  <a:pt x="136" y="16"/>
                  <a:pt x="135" y="17"/>
                  <a:pt x="133" y="17"/>
                </a:cubicBezTo>
                <a:cubicBezTo>
                  <a:pt x="126" y="22"/>
                  <a:pt x="126" y="22"/>
                  <a:pt x="126" y="22"/>
                </a:cubicBezTo>
                <a:cubicBezTo>
                  <a:pt x="120" y="19"/>
                  <a:pt x="114" y="16"/>
                  <a:pt x="107" y="14"/>
                </a:cubicBezTo>
                <a:cubicBezTo>
                  <a:pt x="105" y="6"/>
                  <a:pt x="105" y="6"/>
                  <a:pt x="105" y="6"/>
                </a:cubicBezTo>
                <a:cubicBezTo>
                  <a:pt x="104" y="3"/>
                  <a:pt x="103" y="0"/>
                  <a:pt x="99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3" y="0"/>
                  <a:pt x="71" y="3"/>
                  <a:pt x="70" y="6"/>
                </a:cubicBezTo>
                <a:cubicBezTo>
                  <a:pt x="68" y="14"/>
                  <a:pt x="68" y="14"/>
                  <a:pt x="68" y="14"/>
                </a:cubicBezTo>
                <a:cubicBezTo>
                  <a:pt x="61" y="16"/>
                  <a:pt x="55" y="19"/>
                  <a:pt x="50" y="22"/>
                </a:cubicBezTo>
                <a:cubicBezTo>
                  <a:pt x="42" y="17"/>
                  <a:pt x="42" y="17"/>
                  <a:pt x="42" y="17"/>
                </a:cubicBezTo>
                <a:cubicBezTo>
                  <a:pt x="41" y="17"/>
                  <a:pt x="39" y="16"/>
                  <a:pt x="37" y="16"/>
                </a:cubicBezTo>
                <a:cubicBezTo>
                  <a:pt x="36" y="16"/>
                  <a:pt x="35" y="16"/>
                  <a:pt x="34" y="17"/>
                </a:cubicBezTo>
                <a:cubicBezTo>
                  <a:pt x="17" y="34"/>
                  <a:pt x="17" y="34"/>
                  <a:pt x="17" y="34"/>
                </a:cubicBezTo>
                <a:cubicBezTo>
                  <a:pt x="15" y="36"/>
                  <a:pt x="16" y="40"/>
                  <a:pt x="17" y="42"/>
                </a:cubicBezTo>
                <a:cubicBezTo>
                  <a:pt x="22" y="50"/>
                  <a:pt x="22" y="50"/>
                  <a:pt x="22" y="50"/>
                </a:cubicBezTo>
                <a:cubicBezTo>
                  <a:pt x="18" y="55"/>
                  <a:pt x="16" y="62"/>
                  <a:pt x="14" y="68"/>
                </a:cubicBezTo>
                <a:cubicBezTo>
                  <a:pt x="6" y="70"/>
                  <a:pt x="6" y="70"/>
                  <a:pt x="6" y="70"/>
                </a:cubicBezTo>
                <a:cubicBezTo>
                  <a:pt x="3" y="71"/>
                  <a:pt x="0" y="73"/>
                  <a:pt x="0" y="76"/>
                </a:cubicBezTo>
                <a:cubicBezTo>
                  <a:pt x="0" y="100"/>
                  <a:pt x="0" y="100"/>
                  <a:pt x="0" y="100"/>
                </a:cubicBezTo>
                <a:cubicBezTo>
                  <a:pt x="0" y="103"/>
                  <a:pt x="3" y="105"/>
                  <a:pt x="6" y="105"/>
                </a:cubicBezTo>
                <a:cubicBezTo>
                  <a:pt x="14" y="108"/>
                  <a:pt x="14" y="108"/>
                  <a:pt x="14" y="108"/>
                </a:cubicBezTo>
                <a:cubicBezTo>
                  <a:pt x="16" y="114"/>
                  <a:pt x="18" y="120"/>
                  <a:pt x="22" y="126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6" y="136"/>
                  <a:pt x="15" y="140"/>
                  <a:pt x="17" y="142"/>
                </a:cubicBezTo>
                <a:cubicBezTo>
                  <a:pt x="34" y="158"/>
                  <a:pt x="34" y="158"/>
                  <a:pt x="34" y="158"/>
                </a:cubicBezTo>
                <a:cubicBezTo>
                  <a:pt x="35" y="159"/>
                  <a:pt x="36" y="160"/>
                  <a:pt x="37" y="160"/>
                </a:cubicBezTo>
                <a:cubicBezTo>
                  <a:pt x="39" y="160"/>
                  <a:pt x="41" y="159"/>
                  <a:pt x="42" y="158"/>
                </a:cubicBezTo>
                <a:cubicBezTo>
                  <a:pt x="50" y="154"/>
                  <a:pt x="50" y="154"/>
                  <a:pt x="50" y="154"/>
                </a:cubicBezTo>
                <a:cubicBezTo>
                  <a:pt x="55" y="157"/>
                  <a:pt x="61" y="160"/>
                  <a:pt x="68" y="161"/>
                </a:cubicBezTo>
                <a:cubicBezTo>
                  <a:pt x="70" y="170"/>
                  <a:pt x="70" y="170"/>
                  <a:pt x="70" y="170"/>
                </a:cubicBezTo>
                <a:cubicBezTo>
                  <a:pt x="71" y="173"/>
                  <a:pt x="73" y="176"/>
                  <a:pt x="76" y="176"/>
                </a:cubicBezTo>
                <a:cubicBezTo>
                  <a:pt x="99" y="176"/>
                  <a:pt x="99" y="176"/>
                  <a:pt x="99" y="176"/>
                </a:cubicBezTo>
                <a:cubicBezTo>
                  <a:pt x="103" y="176"/>
                  <a:pt x="104" y="173"/>
                  <a:pt x="105" y="170"/>
                </a:cubicBezTo>
                <a:cubicBezTo>
                  <a:pt x="107" y="161"/>
                  <a:pt x="107" y="161"/>
                  <a:pt x="107" y="161"/>
                </a:cubicBezTo>
                <a:cubicBezTo>
                  <a:pt x="114" y="160"/>
                  <a:pt x="120" y="157"/>
                  <a:pt x="126" y="154"/>
                </a:cubicBezTo>
                <a:cubicBezTo>
                  <a:pt x="133" y="158"/>
                  <a:pt x="133" y="158"/>
                  <a:pt x="133" y="158"/>
                </a:cubicBezTo>
                <a:cubicBezTo>
                  <a:pt x="135" y="159"/>
                  <a:pt x="136" y="160"/>
                  <a:pt x="138" y="160"/>
                </a:cubicBezTo>
                <a:cubicBezTo>
                  <a:pt x="139" y="160"/>
                  <a:pt x="141" y="159"/>
                  <a:pt x="142" y="158"/>
                </a:cubicBezTo>
                <a:cubicBezTo>
                  <a:pt x="158" y="142"/>
                  <a:pt x="158" y="142"/>
                  <a:pt x="158" y="142"/>
                </a:cubicBezTo>
                <a:cubicBezTo>
                  <a:pt x="160" y="140"/>
                  <a:pt x="160" y="136"/>
                  <a:pt x="158" y="134"/>
                </a:cubicBezTo>
                <a:cubicBezTo>
                  <a:pt x="154" y="126"/>
                  <a:pt x="154" y="126"/>
                  <a:pt x="154" y="126"/>
                </a:cubicBezTo>
                <a:cubicBezTo>
                  <a:pt x="157" y="120"/>
                  <a:pt x="160" y="114"/>
                  <a:pt x="161" y="108"/>
                </a:cubicBezTo>
                <a:cubicBezTo>
                  <a:pt x="170" y="105"/>
                  <a:pt x="170" y="105"/>
                  <a:pt x="170" y="105"/>
                </a:cubicBezTo>
                <a:cubicBezTo>
                  <a:pt x="173" y="105"/>
                  <a:pt x="176" y="103"/>
                  <a:pt x="176" y="100"/>
                </a:cubicBezTo>
                <a:cubicBezTo>
                  <a:pt x="176" y="76"/>
                  <a:pt x="176" y="76"/>
                  <a:pt x="176" y="76"/>
                </a:cubicBezTo>
                <a:cubicBezTo>
                  <a:pt x="176" y="73"/>
                  <a:pt x="173" y="71"/>
                  <a:pt x="170" y="70"/>
                </a:cubicBezTo>
                <a:close/>
                <a:moveTo>
                  <a:pt x="168" y="98"/>
                </a:moveTo>
                <a:cubicBezTo>
                  <a:pt x="168" y="98"/>
                  <a:pt x="168" y="98"/>
                  <a:pt x="168" y="98"/>
                </a:cubicBezTo>
                <a:cubicBezTo>
                  <a:pt x="159" y="100"/>
                  <a:pt x="159" y="100"/>
                  <a:pt x="159" y="100"/>
                </a:cubicBezTo>
                <a:cubicBezTo>
                  <a:pt x="157" y="101"/>
                  <a:pt x="154" y="103"/>
                  <a:pt x="154" y="106"/>
                </a:cubicBezTo>
                <a:cubicBezTo>
                  <a:pt x="152" y="111"/>
                  <a:pt x="150" y="117"/>
                  <a:pt x="147" y="122"/>
                </a:cubicBezTo>
                <a:cubicBezTo>
                  <a:pt x="145" y="125"/>
                  <a:pt x="145" y="128"/>
                  <a:pt x="147" y="130"/>
                </a:cubicBezTo>
                <a:cubicBezTo>
                  <a:pt x="151" y="137"/>
                  <a:pt x="151" y="137"/>
                  <a:pt x="151" y="137"/>
                </a:cubicBezTo>
                <a:cubicBezTo>
                  <a:pt x="137" y="151"/>
                  <a:pt x="137" y="151"/>
                  <a:pt x="137" y="151"/>
                </a:cubicBezTo>
                <a:cubicBezTo>
                  <a:pt x="137" y="151"/>
                  <a:pt x="137" y="151"/>
                  <a:pt x="137" y="151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29" y="146"/>
                  <a:pt x="127" y="146"/>
                  <a:pt x="126" y="146"/>
                </a:cubicBezTo>
                <a:cubicBezTo>
                  <a:pt x="124" y="146"/>
                  <a:pt x="123" y="146"/>
                  <a:pt x="122" y="147"/>
                </a:cubicBezTo>
                <a:cubicBezTo>
                  <a:pt x="117" y="150"/>
                  <a:pt x="111" y="152"/>
                  <a:pt x="105" y="154"/>
                </a:cubicBezTo>
                <a:cubicBezTo>
                  <a:pt x="103" y="154"/>
                  <a:pt x="100" y="157"/>
                  <a:pt x="100" y="160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78" y="168"/>
                  <a:pt x="78" y="168"/>
                  <a:pt x="78" y="168"/>
                </a:cubicBezTo>
                <a:cubicBezTo>
                  <a:pt x="76" y="160"/>
                  <a:pt x="76" y="160"/>
                  <a:pt x="76" y="160"/>
                </a:cubicBezTo>
                <a:cubicBezTo>
                  <a:pt x="75" y="157"/>
                  <a:pt x="73" y="154"/>
                  <a:pt x="70" y="154"/>
                </a:cubicBezTo>
                <a:cubicBezTo>
                  <a:pt x="64" y="152"/>
                  <a:pt x="59" y="150"/>
                  <a:pt x="54" y="147"/>
                </a:cubicBezTo>
                <a:cubicBezTo>
                  <a:pt x="52" y="146"/>
                  <a:pt x="51" y="146"/>
                  <a:pt x="50" y="146"/>
                </a:cubicBezTo>
                <a:cubicBezTo>
                  <a:pt x="48" y="146"/>
                  <a:pt x="47" y="146"/>
                  <a:pt x="45" y="147"/>
                </a:cubicBezTo>
                <a:cubicBezTo>
                  <a:pt x="38" y="151"/>
                  <a:pt x="38" y="151"/>
                  <a:pt x="38" y="151"/>
                </a:cubicBezTo>
                <a:cubicBezTo>
                  <a:pt x="38" y="151"/>
                  <a:pt x="38" y="151"/>
                  <a:pt x="38" y="151"/>
                </a:cubicBezTo>
                <a:cubicBezTo>
                  <a:pt x="24" y="137"/>
                  <a:pt x="24" y="137"/>
                  <a:pt x="24" y="137"/>
                </a:cubicBezTo>
                <a:cubicBezTo>
                  <a:pt x="28" y="130"/>
                  <a:pt x="28" y="130"/>
                  <a:pt x="28" y="130"/>
                </a:cubicBezTo>
                <a:cubicBezTo>
                  <a:pt x="30" y="128"/>
                  <a:pt x="30" y="125"/>
                  <a:pt x="29" y="122"/>
                </a:cubicBezTo>
                <a:cubicBezTo>
                  <a:pt x="26" y="117"/>
                  <a:pt x="23" y="111"/>
                  <a:pt x="22" y="106"/>
                </a:cubicBezTo>
                <a:cubicBezTo>
                  <a:pt x="21" y="103"/>
                  <a:pt x="19" y="101"/>
                  <a:pt x="16" y="100"/>
                </a:cubicBezTo>
                <a:cubicBezTo>
                  <a:pt x="8" y="98"/>
                  <a:pt x="8" y="98"/>
                  <a:pt x="8" y="98"/>
                </a:cubicBezTo>
                <a:cubicBezTo>
                  <a:pt x="8" y="98"/>
                  <a:pt x="8" y="98"/>
                  <a:pt x="8" y="98"/>
                </a:cubicBezTo>
                <a:cubicBezTo>
                  <a:pt x="8" y="78"/>
                  <a:pt x="8" y="78"/>
                  <a:pt x="8" y="78"/>
                </a:cubicBezTo>
                <a:cubicBezTo>
                  <a:pt x="16" y="76"/>
                  <a:pt x="16" y="76"/>
                  <a:pt x="16" y="76"/>
                </a:cubicBezTo>
                <a:cubicBezTo>
                  <a:pt x="19" y="75"/>
                  <a:pt x="21" y="73"/>
                  <a:pt x="22" y="70"/>
                </a:cubicBezTo>
                <a:cubicBezTo>
                  <a:pt x="23" y="64"/>
                  <a:pt x="26" y="59"/>
                  <a:pt x="29" y="54"/>
                </a:cubicBezTo>
                <a:cubicBezTo>
                  <a:pt x="30" y="51"/>
                  <a:pt x="30" y="48"/>
                  <a:pt x="28" y="46"/>
                </a:cubicBezTo>
                <a:cubicBezTo>
                  <a:pt x="24" y="38"/>
                  <a:pt x="24" y="38"/>
                  <a:pt x="24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38" y="24"/>
                  <a:pt x="38" y="24"/>
                  <a:pt x="38" y="24"/>
                </a:cubicBezTo>
                <a:cubicBezTo>
                  <a:pt x="45" y="29"/>
                  <a:pt x="45" y="29"/>
                  <a:pt x="45" y="29"/>
                </a:cubicBezTo>
                <a:cubicBezTo>
                  <a:pt x="47" y="30"/>
                  <a:pt x="48" y="30"/>
                  <a:pt x="50" y="30"/>
                </a:cubicBezTo>
                <a:cubicBezTo>
                  <a:pt x="51" y="30"/>
                  <a:pt x="52" y="30"/>
                  <a:pt x="54" y="29"/>
                </a:cubicBezTo>
                <a:cubicBezTo>
                  <a:pt x="59" y="26"/>
                  <a:pt x="64" y="24"/>
                  <a:pt x="70" y="22"/>
                </a:cubicBezTo>
                <a:cubicBezTo>
                  <a:pt x="73" y="21"/>
                  <a:pt x="75" y="19"/>
                  <a:pt x="76" y="16"/>
                </a:cubicBezTo>
                <a:cubicBezTo>
                  <a:pt x="78" y="8"/>
                  <a:pt x="78" y="8"/>
                  <a:pt x="78" y="8"/>
                </a:cubicBezTo>
                <a:cubicBezTo>
                  <a:pt x="98" y="8"/>
                  <a:pt x="98" y="8"/>
                  <a:pt x="98" y="8"/>
                </a:cubicBezTo>
                <a:cubicBezTo>
                  <a:pt x="98" y="8"/>
                  <a:pt x="98" y="8"/>
                  <a:pt x="98" y="8"/>
                </a:cubicBezTo>
                <a:cubicBezTo>
                  <a:pt x="100" y="16"/>
                  <a:pt x="100" y="16"/>
                  <a:pt x="100" y="16"/>
                </a:cubicBezTo>
                <a:cubicBezTo>
                  <a:pt x="100" y="19"/>
                  <a:pt x="103" y="21"/>
                  <a:pt x="105" y="22"/>
                </a:cubicBezTo>
                <a:cubicBezTo>
                  <a:pt x="111" y="24"/>
                  <a:pt x="117" y="26"/>
                  <a:pt x="122" y="29"/>
                </a:cubicBezTo>
                <a:cubicBezTo>
                  <a:pt x="123" y="30"/>
                  <a:pt x="124" y="30"/>
                  <a:pt x="126" y="30"/>
                </a:cubicBezTo>
                <a:cubicBezTo>
                  <a:pt x="127" y="30"/>
                  <a:pt x="129" y="30"/>
                  <a:pt x="130" y="29"/>
                </a:cubicBezTo>
                <a:cubicBezTo>
                  <a:pt x="137" y="24"/>
                  <a:pt x="137" y="24"/>
                  <a:pt x="137" y="24"/>
                </a:cubicBezTo>
                <a:cubicBezTo>
                  <a:pt x="151" y="38"/>
                  <a:pt x="151" y="38"/>
                  <a:pt x="151" y="38"/>
                </a:cubicBezTo>
                <a:cubicBezTo>
                  <a:pt x="151" y="38"/>
                  <a:pt x="151" y="38"/>
                  <a:pt x="151" y="38"/>
                </a:cubicBezTo>
                <a:cubicBezTo>
                  <a:pt x="147" y="46"/>
                  <a:pt x="147" y="46"/>
                  <a:pt x="147" y="46"/>
                </a:cubicBezTo>
                <a:cubicBezTo>
                  <a:pt x="145" y="48"/>
                  <a:pt x="145" y="51"/>
                  <a:pt x="147" y="54"/>
                </a:cubicBezTo>
                <a:cubicBezTo>
                  <a:pt x="150" y="59"/>
                  <a:pt x="152" y="64"/>
                  <a:pt x="154" y="70"/>
                </a:cubicBezTo>
                <a:cubicBezTo>
                  <a:pt x="154" y="73"/>
                  <a:pt x="157" y="75"/>
                  <a:pt x="159" y="76"/>
                </a:cubicBezTo>
                <a:cubicBezTo>
                  <a:pt x="168" y="78"/>
                  <a:pt x="168" y="78"/>
                  <a:pt x="168" y="78"/>
                </a:cubicBezTo>
                <a:lnTo>
                  <a:pt x="168" y="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2" name="Freeform 16">
            <a:extLst>
              <a:ext uri="{FF2B5EF4-FFF2-40B4-BE49-F238E27FC236}">
                <a16:creationId xmlns:a16="http://schemas.microsoft.com/office/drawing/2014/main" id="{AC4E1973-3A13-4D1D-AA54-E19F14E22A66}"/>
              </a:ext>
            </a:extLst>
          </p:cNvPr>
          <p:cNvSpPr>
            <a:spLocks noEditPoints="1"/>
          </p:cNvSpPr>
          <p:nvPr/>
        </p:nvSpPr>
        <p:spPr bwMode="auto">
          <a:xfrm>
            <a:off x="4118155" y="1709579"/>
            <a:ext cx="482942" cy="481700"/>
          </a:xfrm>
          <a:custGeom>
            <a:avLst/>
            <a:gdLst>
              <a:gd name="T0" fmla="*/ 64 w 205"/>
              <a:gd name="T1" fmla="*/ 160 h 204"/>
              <a:gd name="T2" fmla="*/ 72 w 205"/>
              <a:gd name="T3" fmla="*/ 165 h 204"/>
              <a:gd name="T4" fmla="*/ 65 w 205"/>
              <a:gd name="T5" fmla="*/ 37 h 204"/>
              <a:gd name="T6" fmla="*/ 70 w 205"/>
              <a:gd name="T7" fmla="*/ 45 h 204"/>
              <a:gd name="T8" fmla="*/ 65 w 205"/>
              <a:gd name="T9" fmla="*/ 37 h 204"/>
              <a:gd name="T10" fmla="*/ 142 w 205"/>
              <a:gd name="T11" fmla="*/ 44 h 204"/>
              <a:gd name="T12" fmla="*/ 134 w 205"/>
              <a:gd name="T13" fmla="*/ 39 h 204"/>
              <a:gd name="T14" fmla="*/ 103 w 205"/>
              <a:gd name="T15" fmla="*/ 167 h 204"/>
              <a:gd name="T16" fmla="*/ 103 w 205"/>
              <a:gd name="T17" fmla="*/ 176 h 204"/>
              <a:gd name="T18" fmla="*/ 103 w 205"/>
              <a:gd name="T19" fmla="*/ 167 h 204"/>
              <a:gd name="T20" fmla="*/ 28 w 205"/>
              <a:gd name="T21" fmla="*/ 102 h 204"/>
              <a:gd name="T22" fmla="*/ 38 w 205"/>
              <a:gd name="T23" fmla="*/ 102 h 204"/>
              <a:gd name="T24" fmla="*/ 45 w 205"/>
              <a:gd name="T25" fmla="*/ 63 h 204"/>
              <a:gd name="T26" fmla="*/ 40 w 205"/>
              <a:gd name="T27" fmla="*/ 71 h 204"/>
              <a:gd name="T28" fmla="*/ 45 w 205"/>
              <a:gd name="T29" fmla="*/ 63 h 204"/>
              <a:gd name="T30" fmla="*/ 38 w 205"/>
              <a:gd name="T31" fmla="*/ 139 h 204"/>
              <a:gd name="T32" fmla="*/ 46 w 205"/>
              <a:gd name="T33" fmla="*/ 134 h 204"/>
              <a:gd name="T34" fmla="*/ 172 w 205"/>
              <a:gd name="T35" fmla="*/ 97 h 204"/>
              <a:gd name="T36" fmla="*/ 172 w 205"/>
              <a:gd name="T37" fmla="*/ 106 h 204"/>
              <a:gd name="T38" fmla="*/ 172 w 205"/>
              <a:gd name="T39" fmla="*/ 97 h 204"/>
              <a:gd name="T40" fmla="*/ 0 w 205"/>
              <a:gd name="T41" fmla="*/ 102 h 204"/>
              <a:gd name="T42" fmla="*/ 205 w 205"/>
              <a:gd name="T43" fmla="*/ 102 h 204"/>
              <a:gd name="T44" fmla="*/ 103 w 205"/>
              <a:gd name="T45" fmla="*/ 195 h 204"/>
              <a:gd name="T46" fmla="*/ 103 w 205"/>
              <a:gd name="T47" fmla="*/ 9 h 204"/>
              <a:gd name="T48" fmla="*/ 103 w 205"/>
              <a:gd name="T49" fmla="*/ 195 h 204"/>
              <a:gd name="T50" fmla="*/ 159 w 205"/>
              <a:gd name="T51" fmla="*/ 69 h 204"/>
              <a:gd name="T52" fmla="*/ 167 w 205"/>
              <a:gd name="T53" fmla="*/ 65 h 204"/>
              <a:gd name="T54" fmla="*/ 145 w 205"/>
              <a:gd name="T55" fmla="*/ 97 h 204"/>
              <a:gd name="T56" fmla="*/ 107 w 205"/>
              <a:gd name="T57" fmla="*/ 84 h 204"/>
              <a:gd name="T58" fmla="*/ 103 w 205"/>
              <a:gd name="T59" fmla="*/ 27 h 204"/>
              <a:gd name="T60" fmla="*/ 98 w 205"/>
              <a:gd name="T61" fmla="*/ 84 h 204"/>
              <a:gd name="T62" fmla="*/ 103 w 205"/>
              <a:gd name="T63" fmla="*/ 120 h 204"/>
              <a:gd name="T64" fmla="*/ 145 w 205"/>
              <a:gd name="T65" fmla="*/ 106 h 204"/>
              <a:gd name="T66" fmla="*/ 145 w 205"/>
              <a:gd name="T67" fmla="*/ 97 h 204"/>
              <a:gd name="T68" fmla="*/ 93 w 205"/>
              <a:gd name="T69" fmla="*/ 102 h 204"/>
              <a:gd name="T70" fmla="*/ 112 w 205"/>
              <a:gd name="T71" fmla="*/ 102 h 204"/>
              <a:gd name="T72" fmla="*/ 165 w 205"/>
              <a:gd name="T73" fmla="*/ 133 h 204"/>
              <a:gd name="T74" fmla="*/ 161 w 205"/>
              <a:gd name="T75" fmla="*/ 141 h 204"/>
              <a:gd name="T76" fmla="*/ 165 w 205"/>
              <a:gd name="T77" fmla="*/ 133 h 204"/>
              <a:gd name="T78" fmla="*/ 134 w 205"/>
              <a:gd name="T79" fmla="*/ 165 h 204"/>
              <a:gd name="T80" fmla="*/ 142 w 205"/>
              <a:gd name="T81" fmla="*/ 16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5" h="204">
                <a:moveTo>
                  <a:pt x="70" y="158"/>
                </a:moveTo>
                <a:cubicBezTo>
                  <a:pt x="68" y="157"/>
                  <a:pt x="65" y="158"/>
                  <a:pt x="64" y="160"/>
                </a:cubicBezTo>
                <a:cubicBezTo>
                  <a:pt x="62" y="162"/>
                  <a:pt x="63" y="165"/>
                  <a:pt x="65" y="166"/>
                </a:cubicBezTo>
                <a:cubicBezTo>
                  <a:pt x="68" y="168"/>
                  <a:pt x="71" y="167"/>
                  <a:pt x="72" y="165"/>
                </a:cubicBezTo>
                <a:cubicBezTo>
                  <a:pt x="73" y="162"/>
                  <a:pt x="72" y="159"/>
                  <a:pt x="70" y="158"/>
                </a:cubicBezTo>
                <a:close/>
                <a:moveTo>
                  <a:pt x="65" y="37"/>
                </a:moveTo>
                <a:cubicBezTo>
                  <a:pt x="63" y="39"/>
                  <a:pt x="62" y="42"/>
                  <a:pt x="64" y="44"/>
                </a:cubicBezTo>
                <a:cubicBezTo>
                  <a:pt x="65" y="46"/>
                  <a:pt x="68" y="47"/>
                  <a:pt x="70" y="45"/>
                </a:cubicBezTo>
                <a:cubicBezTo>
                  <a:pt x="72" y="44"/>
                  <a:pt x="73" y="41"/>
                  <a:pt x="72" y="39"/>
                </a:cubicBezTo>
                <a:cubicBezTo>
                  <a:pt x="71" y="37"/>
                  <a:pt x="68" y="36"/>
                  <a:pt x="65" y="37"/>
                </a:cubicBezTo>
                <a:close/>
                <a:moveTo>
                  <a:pt x="135" y="45"/>
                </a:moveTo>
                <a:cubicBezTo>
                  <a:pt x="137" y="47"/>
                  <a:pt x="140" y="46"/>
                  <a:pt x="142" y="44"/>
                </a:cubicBezTo>
                <a:cubicBezTo>
                  <a:pt x="143" y="42"/>
                  <a:pt x="142" y="39"/>
                  <a:pt x="140" y="37"/>
                </a:cubicBezTo>
                <a:cubicBezTo>
                  <a:pt x="138" y="36"/>
                  <a:pt x="135" y="37"/>
                  <a:pt x="134" y="39"/>
                </a:cubicBezTo>
                <a:cubicBezTo>
                  <a:pt x="132" y="41"/>
                  <a:pt x="133" y="44"/>
                  <a:pt x="135" y="45"/>
                </a:cubicBezTo>
                <a:close/>
                <a:moveTo>
                  <a:pt x="103" y="167"/>
                </a:moveTo>
                <a:cubicBezTo>
                  <a:pt x="100" y="167"/>
                  <a:pt x="98" y="169"/>
                  <a:pt x="98" y="172"/>
                </a:cubicBezTo>
                <a:cubicBezTo>
                  <a:pt x="98" y="174"/>
                  <a:pt x="100" y="176"/>
                  <a:pt x="103" y="176"/>
                </a:cubicBezTo>
                <a:cubicBezTo>
                  <a:pt x="105" y="176"/>
                  <a:pt x="107" y="174"/>
                  <a:pt x="107" y="172"/>
                </a:cubicBezTo>
                <a:cubicBezTo>
                  <a:pt x="107" y="169"/>
                  <a:pt x="105" y="167"/>
                  <a:pt x="103" y="167"/>
                </a:cubicBezTo>
                <a:close/>
                <a:moveTo>
                  <a:pt x="33" y="97"/>
                </a:moveTo>
                <a:cubicBezTo>
                  <a:pt x="30" y="97"/>
                  <a:pt x="28" y="99"/>
                  <a:pt x="28" y="102"/>
                </a:cubicBezTo>
                <a:cubicBezTo>
                  <a:pt x="28" y="104"/>
                  <a:pt x="30" y="106"/>
                  <a:pt x="33" y="106"/>
                </a:cubicBezTo>
                <a:cubicBezTo>
                  <a:pt x="35" y="106"/>
                  <a:pt x="38" y="104"/>
                  <a:pt x="38" y="102"/>
                </a:cubicBezTo>
                <a:cubicBezTo>
                  <a:pt x="38" y="99"/>
                  <a:pt x="35" y="97"/>
                  <a:pt x="33" y="97"/>
                </a:cubicBezTo>
                <a:close/>
                <a:moveTo>
                  <a:pt x="45" y="63"/>
                </a:moveTo>
                <a:cubicBezTo>
                  <a:pt x="42" y="62"/>
                  <a:pt x="39" y="62"/>
                  <a:pt x="38" y="65"/>
                </a:cubicBezTo>
                <a:cubicBezTo>
                  <a:pt x="37" y="67"/>
                  <a:pt x="38" y="70"/>
                  <a:pt x="40" y="71"/>
                </a:cubicBezTo>
                <a:cubicBezTo>
                  <a:pt x="42" y="72"/>
                  <a:pt x="45" y="71"/>
                  <a:pt x="46" y="69"/>
                </a:cubicBezTo>
                <a:cubicBezTo>
                  <a:pt x="48" y="67"/>
                  <a:pt x="47" y="64"/>
                  <a:pt x="45" y="63"/>
                </a:cubicBezTo>
                <a:close/>
                <a:moveTo>
                  <a:pt x="40" y="133"/>
                </a:moveTo>
                <a:cubicBezTo>
                  <a:pt x="38" y="134"/>
                  <a:pt x="37" y="137"/>
                  <a:pt x="38" y="139"/>
                </a:cubicBezTo>
                <a:cubicBezTo>
                  <a:pt x="39" y="141"/>
                  <a:pt x="42" y="142"/>
                  <a:pt x="45" y="141"/>
                </a:cubicBezTo>
                <a:cubicBezTo>
                  <a:pt x="47" y="139"/>
                  <a:pt x="48" y="137"/>
                  <a:pt x="46" y="134"/>
                </a:cubicBezTo>
                <a:cubicBezTo>
                  <a:pt x="45" y="132"/>
                  <a:pt x="42" y="131"/>
                  <a:pt x="40" y="133"/>
                </a:cubicBezTo>
                <a:close/>
                <a:moveTo>
                  <a:pt x="172" y="97"/>
                </a:moveTo>
                <a:cubicBezTo>
                  <a:pt x="170" y="97"/>
                  <a:pt x="168" y="99"/>
                  <a:pt x="168" y="102"/>
                </a:cubicBezTo>
                <a:cubicBezTo>
                  <a:pt x="168" y="104"/>
                  <a:pt x="170" y="106"/>
                  <a:pt x="172" y="106"/>
                </a:cubicBezTo>
                <a:cubicBezTo>
                  <a:pt x="175" y="106"/>
                  <a:pt x="177" y="104"/>
                  <a:pt x="177" y="102"/>
                </a:cubicBezTo>
                <a:cubicBezTo>
                  <a:pt x="177" y="99"/>
                  <a:pt x="175" y="97"/>
                  <a:pt x="172" y="97"/>
                </a:cubicBezTo>
                <a:close/>
                <a:moveTo>
                  <a:pt x="103" y="0"/>
                </a:moveTo>
                <a:cubicBezTo>
                  <a:pt x="46" y="0"/>
                  <a:pt x="0" y="45"/>
                  <a:pt x="0" y="102"/>
                </a:cubicBezTo>
                <a:cubicBezTo>
                  <a:pt x="0" y="158"/>
                  <a:pt x="46" y="204"/>
                  <a:pt x="103" y="204"/>
                </a:cubicBezTo>
                <a:cubicBezTo>
                  <a:pt x="159" y="204"/>
                  <a:pt x="205" y="158"/>
                  <a:pt x="205" y="102"/>
                </a:cubicBezTo>
                <a:cubicBezTo>
                  <a:pt x="205" y="45"/>
                  <a:pt x="159" y="0"/>
                  <a:pt x="103" y="0"/>
                </a:cubicBezTo>
                <a:close/>
                <a:moveTo>
                  <a:pt x="103" y="195"/>
                </a:moveTo>
                <a:cubicBezTo>
                  <a:pt x="51" y="195"/>
                  <a:pt x="10" y="153"/>
                  <a:pt x="10" y="102"/>
                </a:cubicBezTo>
                <a:cubicBezTo>
                  <a:pt x="10" y="50"/>
                  <a:pt x="51" y="9"/>
                  <a:pt x="103" y="9"/>
                </a:cubicBezTo>
                <a:cubicBezTo>
                  <a:pt x="154" y="9"/>
                  <a:pt x="196" y="50"/>
                  <a:pt x="196" y="102"/>
                </a:cubicBezTo>
                <a:cubicBezTo>
                  <a:pt x="196" y="153"/>
                  <a:pt x="154" y="195"/>
                  <a:pt x="103" y="195"/>
                </a:cubicBezTo>
                <a:close/>
                <a:moveTo>
                  <a:pt x="161" y="63"/>
                </a:moveTo>
                <a:cubicBezTo>
                  <a:pt x="159" y="64"/>
                  <a:pt x="158" y="67"/>
                  <a:pt x="159" y="69"/>
                </a:cubicBezTo>
                <a:cubicBezTo>
                  <a:pt x="160" y="71"/>
                  <a:pt x="163" y="72"/>
                  <a:pt x="165" y="71"/>
                </a:cubicBezTo>
                <a:cubicBezTo>
                  <a:pt x="168" y="70"/>
                  <a:pt x="168" y="67"/>
                  <a:pt x="167" y="65"/>
                </a:cubicBezTo>
                <a:cubicBezTo>
                  <a:pt x="166" y="62"/>
                  <a:pt x="163" y="62"/>
                  <a:pt x="161" y="63"/>
                </a:cubicBezTo>
                <a:close/>
                <a:moveTo>
                  <a:pt x="145" y="97"/>
                </a:moveTo>
                <a:cubicBezTo>
                  <a:pt x="121" y="97"/>
                  <a:pt x="121" y="97"/>
                  <a:pt x="121" y="97"/>
                </a:cubicBezTo>
                <a:cubicBezTo>
                  <a:pt x="119" y="91"/>
                  <a:pt x="114" y="86"/>
                  <a:pt x="107" y="84"/>
                </a:cubicBezTo>
                <a:cubicBezTo>
                  <a:pt x="107" y="32"/>
                  <a:pt x="107" y="32"/>
                  <a:pt x="107" y="32"/>
                </a:cubicBezTo>
                <a:cubicBezTo>
                  <a:pt x="107" y="29"/>
                  <a:pt x="105" y="27"/>
                  <a:pt x="103" y="27"/>
                </a:cubicBezTo>
                <a:cubicBezTo>
                  <a:pt x="100" y="27"/>
                  <a:pt x="98" y="29"/>
                  <a:pt x="98" y="32"/>
                </a:cubicBezTo>
                <a:cubicBezTo>
                  <a:pt x="98" y="84"/>
                  <a:pt x="98" y="84"/>
                  <a:pt x="98" y="84"/>
                </a:cubicBezTo>
                <a:cubicBezTo>
                  <a:pt x="90" y="86"/>
                  <a:pt x="84" y="93"/>
                  <a:pt x="84" y="102"/>
                </a:cubicBezTo>
                <a:cubicBezTo>
                  <a:pt x="84" y="112"/>
                  <a:pt x="92" y="120"/>
                  <a:pt x="103" y="120"/>
                </a:cubicBezTo>
                <a:cubicBezTo>
                  <a:pt x="111" y="120"/>
                  <a:pt x="119" y="114"/>
                  <a:pt x="121" y="106"/>
                </a:cubicBezTo>
                <a:cubicBezTo>
                  <a:pt x="145" y="106"/>
                  <a:pt x="145" y="106"/>
                  <a:pt x="145" y="106"/>
                </a:cubicBezTo>
                <a:cubicBezTo>
                  <a:pt x="147" y="106"/>
                  <a:pt x="149" y="104"/>
                  <a:pt x="149" y="102"/>
                </a:cubicBezTo>
                <a:cubicBezTo>
                  <a:pt x="149" y="99"/>
                  <a:pt x="147" y="97"/>
                  <a:pt x="145" y="97"/>
                </a:cubicBezTo>
                <a:close/>
                <a:moveTo>
                  <a:pt x="103" y="111"/>
                </a:moveTo>
                <a:cubicBezTo>
                  <a:pt x="98" y="111"/>
                  <a:pt x="93" y="107"/>
                  <a:pt x="93" y="102"/>
                </a:cubicBezTo>
                <a:cubicBezTo>
                  <a:pt x="93" y="97"/>
                  <a:pt x="98" y="93"/>
                  <a:pt x="103" y="93"/>
                </a:cubicBezTo>
                <a:cubicBezTo>
                  <a:pt x="108" y="93"/>
                  <a:pt x="112" y="97"/>
                  <a:pt x="112" y="102"/>
                </a:cubicBezTo>
                <a:cubicBezTo>
                  <a:pt x="112" y="107"/>
                  <a:pt x="108" y="111"/>
                  <a:pt x="103" y="111"/>
                </a:cubicBezTo>
                <a:close/>
                <a:moveTo>
                  <a:pt x="165" y="133"/>
                </a:moveTo>
                <a:cubicBezTo>
                  <a:pt x="163" y="131"/>
                  <a:pt x="160" y="132"/>
                  <a:pt x="159" y="134"/>
                </a:cubicBezTo>
                <a:cubicBezTo>
                  <a:pt x="158" y="137"/>
                  <a:pt x="159" y="139"/>
                  <a:pt x="161" y="141"/>
                </a:cubicBezTo>
                <a:cubicBezTo>
                  <a:pt x="163" y="142"/>
                  <a:pt x="166" y="141"/>
                  <a:pt x="167" y="139"/>
                </a:cubicBezTo>
                <a:cubicBezTo>
                  <a:pt x="168" y="137"/>
                  <a:pt x="168" y="134"/>
                  <a:pt x="165" y="133"/>
                </a:cubicBezTo>
                <a:close/>
                <a:moveTo>
                  <a:pt x="135" y="158"/>
                </a:moveTo>
                <a:cubicBezTo>
                  <a:pt x="133" y="159"/>
                  <a:pt x="132" y="162"/>
                  <a:pt x="134" y="165"/>
                </a:cubicBezTo>
                <a:cubicBezTo>
                  <a:pt x="135" y="167"/>
                  <a:pt x="138" y="168"/>
                  <a:pt x="140" y="166"/>
                </a:cubicBezTo>
                <a:cubicBezTo>
                  <a:pt x="142" y="165"/>
                  <a:pt x="143" y="162"/>
                  <a:pt x="142" y="160"/>
                </a:cubicBezTo>
                <a:cubicBezTo>
                  <a:pt x="140" y="158"/>
                  <a:pt x="137" y="157"/>
                  <a:pt x="135" y="15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3" name="Freeform 44">
            <a:extLst>
              <a:ext uri="{FF2B5EF4-FFF2-40B4-BE49-F238E27FC236}">
                <a16:creationId xmlns:a16="http://schemas.microsoft.com/office/drawing/2014/main" id="{4B9DFDC6-9F5B-4B64-A45D-E39343D184EF}"/>
              </a:ext>
            </a:extLst>
          </p:cNvPr>
          <p:cNvSpPr>
            <a:spLocks noEditPoints="1"/>
          </p:cNvSpPr>
          <p:nvPr/>
        </p:nvSpPr>
        <p:spPr bwMode="auto">
          <a:xfrm>
            <a:off x="2809271" y="1709579"/>
            <a:ext cx="414660" cy="414659"/>
          </a:xfrm>
          <a:custGeom>
            <a:avLst/>
            <a:gdLst>
              <a:gd name="T0" fmla="*/ 88 w 176"/>
              <a:gd name="T1" fmla="*/ 0 h 176"/>
              <a:gd name="T2" fmla="*/ 0 w 176"/>
              <a:gd name="T3" fmla="*/ 88 h 176"/>
              <a:gd name="T4" fmla="*/ 88 w 176"/>
              <a:gd name="T5" fmla="*/ 176 h 176"/>
              <a:gd name="T6" fmla="*/ 176 w 176"/>
              <a:gd name="T7" fmla="*/ 88 h 176"/>
              <a:gd name="T8" fmla="*/ 88 w 176"/>
              <a:gd name="T9" fmla="*/ 0 h 176"/>
              <a:gd name="T10" fmla="*/ 84 w 176"/>
              <a:gd name="T11" fmla="*/ 168 h 176"/>
              <a:gd name="T12" fmla="*/ 8 w 176"/>
              <a:gd name="T13" fmla="*/ 92 h 176"/>
              <a:gd name="T14" fmla="*/ 24 w 176"/>
              <a:gd name="T15" fmla="*/ 92 h 176"/>
              <a:gd name="T16" fmla="*/ 33 w 176"/>
              <a:gd name="T17" fmla="*/ 100 h 176"/>
              <a:gd name="T18" fmla="*/ 84 w 176"/>
              <a:gd name="T19" fmla="*/ 144 h 176"/>
              <a:gd name="T20" fmla="*/ 84 w 176"/>
              <a:gd name="T21" fmla="*/ 168 h 176"/>
              <a:gd name="T22" fmla="*/ 84 w 176"/>
              <a:gd name="T23" fmla="*/ 136 h 176"/>
              <a:gd name="T24" fmla="*/ 41 w 176"/>
              <a:gd name="T25" fmla="*/ 99 h 176"/>
              <a:gd name="T26" fmla="*/ 47 w 176"/>
              <a:gd name="T27" fmla="*/ 92 h 176"/>
              <a:gd name="T28" fmla="*/ 68 w 176"/>
              <a:gd name="T29" fmla="*/ 92 h 176"/>
              <a:gd name="T30" fmla="*/ 84 w 176"/>
              <a:gd name="T31" fmla="*/ 108 h 176"/>
              <a:gd name="T32" fmla="*/ 84 w 176"/>
              <a:gd name="T33" fmla="*/ 136 h 176"/>
              <a:gd name="T34" fmla="*/ 84 w 176"/>
              <a:gd name="T35" fmla="*/ 68 h 176"/>
              <a:gd name="T36" fmla="*/ 68 w 176"/>
              <a:gd name="T37" fmla="*/ 84 h 176"/>
              <a:gd name="T38" fmla="*/ 47 w 176"/>
              <a:gd name="T39" fmla="*/ 84 h 176"/>
              <a:gd name="T40" fmla="*/ 41 w 176"/>
              <a:gd name="T41" fmla="*/ 77 h 176"/>
              <a:gd name="T42" fmla="*/ 84 w 176"/>
              <a:gd name="T43" fmla="*/ 40 h 176"/>
              <a:gd name="T44" fmla="*/ 84 w 176"/>
              <a:gd name="T45" fmla="*/ 68 h 176"/>
              <a:gd name="T46" fmla="*/ 84 w 176"/>
              <a:gd name="T47" fmla="*/ 32 h 176"/>
              <a:gd name="T48" fmla="*/ 33 w 176"/>
              <a:gd name="T49" fmla="*/ 76 h 176"/>
              <a:gd name="T50" fmla="*/ 24 w 176"/>
              <a:gd name="T51" fmla="*/ 84 h 176"/>
              <a:gd name="T52" fmla="*/ 8 w 176"/>
              <a:gd name="T53" fmla="*/ 84 h 176"/>
              <a:gd name="T54" fmla="*/ 84 w 176"/>
              <a:gd name="T55" fmla="*/ 8 h 176"/>
              <a:gd name="T56" fmla="*/ 84 w 176"/>
              <a:gd name="T57" fmla="*/ 32 h 176"/>
              <a:gd name="T58" fmla="*/ 92 w 176"/>
              <a:gd name="T59" fmla="*/ 8 h 176"/>
              <a:gd name="T60" fmla="*/ 168 w 176"/>
              <a:gd name="T61" fmla="*/ 84 h 176"/>
              <a:gd name="T62" fmla="*/ 144 w 176"/>
              <a:gd name="T63" fmla="*/ 84 h 176"/>
              <a:gd name="T64" fmla="*/ 134 w 176"/>
              <a:gd name="T65" fmla="*/ 57 h 176"/>
              <a:gd name="T66" fmla="*/ 136 w 176"/>
              <a:gd name="T67" fmla="*/ 52 h 176"/>
              <a:gd name="T68" fmla="*/ 124 w 176"/>
              <a:gd name="T69" fmla="*/ 40 h 176"/>
              <a:gd name="T70" fmla="*/ 118 w 176"/>
              <a:gd name="T71" fmla="*/ 41 h 176"/>
              <a:gd name="T72" fmla="*/ 92 w 176"/>
              <a:gd name="T73" fmla="*/ 32 h 176"/>
              <a:gd name="T74" fmla="*/ 92 w 176"/>
              <a:gd name="T75" fmla="*/ 8 h 176"/>
              <a:gd name="T76" fmla="*/ 92 w 176"/>
              <a:gd name="T77" fmla="*/ 40 h 176"/>
              <a:gd name="T78" fmla="*/ 113 w 176"/>
              <a:gd name="T79" fmla="*/ 47 h 176"/>
              <a:gd name="T80" fmla="*/ 112 w 176"/>
              <a:gd name="T81" fmla="*/ 52 h 176"/>
              <a:gd name="T82" fmla="*/ 124 w 176"/>
              <a:gd name="T83" fmla="*/ 64 h 176"/>
              <a:gd name="T84" fmla="*/ 129 w 176"/>
              <a:gd name="T85" fmla="*/ 63 h 176"/>
              <a:gd name="T86" fmla="*/ 136 w 176"/>
              <a:gd name="T87" fmla="*/ 84 h 176"/>
              <a:gd name="T88" fmla="*/ 107 w 176"/>
              <a:gd name="T89" fmla="*/ 84 h 176"/>
              <a:gd name="T90" fmla="*/ 92 w 176"/>
              <a:gd name="T91" fmla="*/ 68 h 176"/>
              <a:gd name="T92" fmla="*/ 92 w 176"/>
              <a:gd name="T93" fmla="*/ 40 h 176"/>
              <a:gd name="T94" fmla="*/ 92 w 176"/>
              <a:gd name="T95" fmla="*/ 108 h 176"/>
              <a:gd name="T96" fmla="*/ 107 w 176"/>
              <a:gd name="T97" fmla="*/ 92 h 176"/>
              <a:gd name="T98" fmla="*/ 136 w 176"/>
              <a:gd name="T99" fmla="*/ 92 h 176"/>
              <a:gd name="T100" fmla="*/ 92 w 176"/>
              <a:gd name="T101" fmla="*/ 136 h 176"/>
              <a:gd name="T102" fmla="*/ 92 w 176"/>
              <a:gd name="T103" fmla="*/ 108 h 176"/>
              <a:gd name="T104" fmla="*/ 92 w 176"/>
              <a:gd name="T105" fmla="*/ 168 h 176"/>
              <a:gd name="T106" fmla="*/ 92 w 176"/>
              <a:gd name="T107" fmla="*/ 144 h 176"/>
              <a:gd name="T108" fmla="*/ 144 w 176"/>
              <a:gd name="T109" fmla="*/ 92 h 176"/>
              <a:gd name="T110" fmla="*/ 168 w 176"/>
              <a:gd name="T111" fmla="*/ 92 h 176"/>
              <a:gd name="T112" fmla="*/ 92 w 176"/>
              <a:gd name="T113" fmla="*/ 168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76" h="176">
                <a:moveTo>
                  <a:pt x="88" y="0"/>
                </a:moveTo>
                <a:cubicBezTo>
                  <a:pt x="39" y="0"/>
                  <a:pt x="0" y="39"/>
                  <a:pt x="0" y="88"/>
                </a:cubicBezTo>
                <a:cubicBezTo>
                  <a:pt x="0" y="137"/>
                  <a:pt x="39" y="176"/>
                  <a:pt x="88" y="176"/>
                </a:cubicBezTo>
                <a:cubicBezTo>
                  <a:pt x="136" y="176"/>
                  <a:pt x="176" y="137"/>
                  <a:pt x="176" y="88"/>
                </a:cubicBezTo>
                <a:cubicBezTo>
                  <a:pt x="176" y="39"/>
                  <a:pt x="136" y="0"/>
                  <a:pt x="88" y="0"/>
                </a:cubicBezTo>
                <a:close/>
                <a:moveTo>
                  <a:pt x="84" y="168"/>
                </a:moveTo>
                <a:cubicBezTo>
                  <a:pt x="43" y="166"/>
                  <a:pt x="10" y="133"/>
                  <a:pt x="8" y="92"/>
                </a:cubicBezTo>
                <a:cubicBezTo>
                  <a:pt x="24" y="92"/>
                  <a:pt x="24" y="92"/>
                  <a:pt x="24" y="92"/>
                </a:cubicBezTo>
                <a:cubicBezTo>
                  <a:pt x="26" y="96"/>
                  <a:pt x="29" y="99"/>
                  <a:pt x="33" y="100"/>
                </a:cubicBezTo>
                <a:cubicBezTo>
                  <a:pt x="38" y="124"/>
                  <a:pt x="59" y="142"/>
                  <a:pt x="84" y="144"/>
                </a:cubicBezTo>
                <a:lnTo>
                  <a:pt x="84" y="168"/>
                </a:lnTo>
                <a:close/>
                <a:moveTo>
                  <a:pt x="84" y="136"/>
                </a:moveTo>
                <a:cubicBezTo>
                  <a:pt x="63" y="134"/>
                  <a:pt x="46" y="119"/>
                  <a:pt x="41" y="99"/>
                </a:cubicBezTo>
                <a:cubicBezTo>
                  <a:pt x="44" y="97"/>
                  <a:pt x="46" y="95"/>
                  <a:pt x="47" y="92"/>
                </a:cubicBezTo>
                <a:cubicBezTo>
                  <a:pt x="68" y="92"/>
                  <a:pt x="68" y="92"/>
                  <a:pt x="68" y="92"/>
                </a:cubicBezTo>
                <a:cubicBezTo>
                  <a:pt x="70" y="100"/>
                  <a:pt x="76" y="106"/>
                  <a:pt x="84" y="108"/>
                </a:cubicBezTo>
                <a:lnTo>
                  <a:pt x="84" y="136"/>
                </a:lnTo>
                <a:close/>
                <a:moveTo>
                  <a:pt x="84" y="68"/>
                </a:moveTo>
                <a:cubicBezTo>
                  <a:pt x="76" y="70"/>
                  <a:pt x="70" y="76"/>
                  <a:pt x="68" y="84"/>
                </a:cubicBezTo>
                <a:cubicBezTo>
                  <a:pt x="47" y="84"/>
                  <a:pt x="47" y="84"/>
                  <a:pt x="47" y="84"/>
                </a:cubicBezTo>
                <a:cubicBezTo>
                  <a:pt x="46" y="81"/>
                  <a:pt x="44" y="79"/>
                  <a:pt x="41" y="77"/>
                </a:cubicBezTo>
                <a:cubicBezTo>
                  <a:pt x="46" y="57"/>
                  <a:pt x="63" y="42"/>
                  <a:pt x="84" y="40"/>
                </a:cubicBezTo>
                <a:lnTo>
                  <a:pt x="84" y="68"/>
                </a:lnTo>
                <a:close/>
                <a:moveTo>
                  <a:pt x="84" y="32"/>
                </a:moveTo>
                <a:cubicBezTo>
                  <a:pt x="59" y="34"/>
                  <a:pt x="38" y="52"/>
                  <a:pt x="33" y="76"/>
                </a:cubicBezTo>
                <a:cubicBezTo>
                  <a:pt x="29" y="77"/>
                  <a:pt x="26" y="80"/>
                  <a:pt x="24" y="84"/>
                </a:cubicBezTo>
                <a:cubicBezTo>
                  <a:pt x="8" y="84"/>
                  <a:pt x="8" y="84"/>
                  <a:pt x="8" y="84"/>
                </a:cubicBezTo>
                <a:cubicBezTo>
                  <a:pt x="10" y="43"/>
                  <a:pt x="43" y="10"/>
                  <a:pt x="84" y="8"/>
                </a:cubicBezTo>
                <a:lnTo>
                  <a:pt x="84" y="32"/>
                </a:lnTo>
                <a:close/>
                <a:moveTo>
                  <a:pt x="92" y="8"/>
                </a:moveTo>
                <a:cubicBezTo>
                  <a:pt x="133" y="10"/>
                  <a:pt x="166" y="43"/>
                  <a:pt x="168" y="84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43" y="74"/>
                  <a:pt x="140" y="65"/>
                  <a:pt x="134" y="57"/>
                </a:cubicBezTo>
                <a:cubicBezTo>
                  <a:pt x="135" y="56"/>
                  <a:pt x="136" y="54"/>
                  <a:pt x="136" y="52"/>
                </a:cubicBezTo>
                <a:cubicBezTo>
                  <a:pt x="136" y="45"/>
                  <a:pt x="130" y="40"/>
                  <a:pt x="124" y="40"/>
                </a:cubicBezTo>
                <a:cubicBezTo>
                  <a:pt x="122" y="40"/>
                  <a:pt x="120" y="40"/>
                  <a:pt x="118" y="41"/>
                </a:cubicBezTo>
                <a:cubicBezTo>
                  <a:pt x="111" y="36"/>
                  <a:pt x="102" y="33"/>
                  <a:pt x="92" y="32"/>
                </a:cubicBezTo>
                <a:lnTo>
                  <a:pt x="92" y="8"/>
                </a:lnTo>
                <a:close/>
                <a:moveTo>
                  <a:pt x="92" y="40"/>
                </a:moveTo>
                <a:cubicBezTo>
                  <a:pt x="99" y="41"/>
                  <a:pt x="107" y="43"/>
                  <a:pt x="113" y="47"/>
                </a:cubicBezTo>
                <a:cubicBezTo>
                  <a:pt x="112" y="49"/>
                  <a:pt x="112" y="50"/>
                  <a:pt x="112" y="52"/>
                </a:cubicBezTo>
                <a:cubicBezTo>
                  <a:pt x="112" y="59"/>
                  <a:pt x="117" y="64"/>
                  <a:pt x="124" y="64"/>
                </a:cubicBezTo>
                <a:cubicBezTo>
                  <a:pt x="126" y="64"/>
                  <a:pt x="127" y="64"/>
                  <a:pt x="129" y="63"/>
                </a:cubicBezTo>
                <a:cubicBezTo>
                  <a:pt x="132" y="69"/>
                  <a:pt x="135" y="76"/>
                  <a:pt x="136" y="84"/>
                </a:cubicBezTo>
                <a:cubicBezTo>
                  <a:pt x="107" y="84"/>
                  <a:pt x="107" y="84"/>
                  <a:pt x="107" y="84"/>
                </a:cubicBezTo>
                <a:cubicBezTo>
                  <a:pt x="106" y="76"/>
                  <a:pt x="100" y="70"/>
                  <a:pt x="92" y="68"/>
                </a:cubicBezTo>
                <a:lnTo>
                  <a:pt x="92" y="40"/>
                </a:lnTo>
                <a:close/>
                <a:moveTo>
                  <a:pt x="92" y="108"/>
                </a:moveTo>
                <a:cubicBezTo>
                  <a:pt x="100" y="106"/>
                  <a:pt x="106" y="100"/>
                  <a:pt x="107" y="92"/>
                </a:cubicBezTo>
                <a:cubicBezTo>
                  <a:pt x="136" y="92"/>
                  <a:pt x="136" y="92"/>
                  <a:pt x="136" y="92"/>
                </a:cubicBezTo>
                <a:cubicBezTo>
                  <a:pt x="134" y="115"/>
                  <a:pt x="115" y="134"/>
                  <a:pt x="92" y="136"/>
                </a:cubicBezTo>
                <a:lnTo>
                  <a:pt x="92" y="108"/>
                </a:lnTo>
                <a:close/>
                <a:moveTo>
                  <a:pt x="92" y="168"/>
                </a:moveTo>
                <a:cubicBezTo>
                  <a:pt x="92" y="144"/>
                  <a:pt x="92" y="144"/>
                  <a:pt x="92" y="144"/>
                </a:cubicBezTo>
                <a:cubicBezTo>
                  <a:pt x="119" y="142"/>
                  <a:pt x="142" y="120"/>
                  <a:pt x="144" y="92"/>
                </a:cubicBezTo>
                <a:cubicBezTo>
                  <a:pt x="168" y="92"/>
                  <a:pt x="168" y="92"/>
                  <a:pt x="168" y="92"/>
                </a:cubicBezTo>
                <a:cubicBezTo>
                  <a:pt x="166" y="133"/>
                  <a:pt x="133" y="166"/>
                  <a:pt x="92" y="1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366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554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8301" y="423158"/>
            <a:ext cx="11448000" cy="719842"/>
          </a:xfrm>
        </p:spPr>
        <p:txBody>
          <a:bodyPr/>
          <a:lstStyle/>
          <a:p>
            <a:r>
              <a:rPr lang="it-IT" dirty="0"/>
              <a:t>Nell’uso normale, i veicoli diesel emettono NO</a:t>
            </a:r>
            <a:r>
              <a:rPr lang="it-IT" baseline="-25000" dirty="0"/>
              <a:t>X</a:t>
            </a:r>
            <a:r>
              <a:rPr lang="it-IT" dirty="0"/>
              <a:t> 5-7 volte superiori </a:t>
            </a:r>
            <a:br>
              <a:rPr lang="it-IT" dirty="0"/>
            </a:br>
            <a:r>
              <a:rPr lang="it-IT" dirty="0"/>
              <a:t>ai limiti di legg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68301" y="6164264"/>
            <a:ext cx="11448000" cy="171735"/>
          </a:xfrm>
        </p:spPr>
        <p:txBody>
          <a:bodyPr/>
          <a:lstStyle/>
          <a:p>
            <a:r>
              <a:rPr lang="it-IT" sz="1000" dirty="0"/>
              <a:t>Fonte: ICCT, KBA, AlixPartners</a:t>
            </a:r>
            <a:br>
              <a:rPr lang="it-IT" sz="1000" dirty="0"/>
            </a:br>
            <a:r>
              <a:rPr lang="it-IT" sz="1000" dirty="0"/>
              <a:t>Nota: 1. Date di entrata in vigore delle nuove omologazioni delle emissioni, medie KBA delle emissioni NO</a:t>
            </a:r>
            <a:r>
              <a:rPr lang="it-IT" sz="1000" baseline="-25000" dirty="0"/>
              <a:t>X</a:t>
            </a:r>
            <a:r>
              <a:rPr lang="it-IT" sz="1000" dirty="0"/>
              <a:t> rilevate nei veicoli circolanti Euro 5 rispetto agli Euro 6</a:t>
            </a:r>
          </a:p>
        </p:txBody>
      </p:sp>
      <p:sp>
        <p:nvSpPr>
          <p:cNvPr id="7" name="SubHeaderV">
            <a:extLst>
              <a:ext uri="{FF2B5EF4-FFF2-40B4-BE49-F238E27FC236}">
                <a16:creationId xmlns:a16="http://schemas.microsoft.com/office/drawing/2014/main" id="{D41F0FD8-4359-4A7A-B54C-A453B93F76CB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68301" y="1149627"/>
            <a:ext cx="11456987" cy="366437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r>
              <a:rPr lang="it-IT" dirty="0"/>
              <a:t>Emissioni reali di NO</a:t>
            </a:r>
            <a:r>
              <a:rPr lang="it-IT" baseline="-25000" dirty="0"/>
              <a:t>X</a:t>
            </a:r>
            <a:r>
              <a:rPr lang="it-IT" dirty="0"/>
              <a:t> dei veicoli diesel su strada in base a standard Euro (in g/km) </a:t>
            </a:r>
            <a:br>
              <a:rPr lang="it-IT" dirty="0"/>
            </a:br>
            <a:r>
              <a:rPr lang="it-IT" dirty="0"/>
              <a:t>Rapporto tra emissioni su strada e rispettivo standard di emission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013A7881-44BC-4093-8153-DD4C35D4F25D}"/>
              </a:ext>
            </a:extLst>
          </p:cNvPr>
          <p:cNvSpPr txBox="1">
            <a:spLocks/>
          </p:cNvSpPr>
          <p:nvPr/>
        </p:nvSpPr>
        <p:spPr>
          <a:xfrm>
            <a:off x="6756401" y="1828799"/>
            <a:ext cx="5059900" cy="394992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</a:pPr>
            <a:r>
              <a:rPr lang="it-IT" sz="1100" dirty="0"/>
              <a:t>I target di emissione NO</a:t>
            </a:r>
            <a:r>
              <a:rPr lang="it-IT" sz="1100" baseline="-25000" dirty="0"/>
              <a:t>X</a:t>
            </a:r>
            <a:r>
              <a:rPr lang="it-IT" sz="1100" dirty="0"/>
              <a:t> sono ridotti dell’84% da Euro 3 a Euro 6.</a:t>
            </a:r>
          </a:p>
          <a:p>
            <a:pPr lvl="1">
              <a:lnSpc>
                <a:spcPct val="100000"/>
              </a:lnSpc>
            </a:pPr>
            <a:r>
              <a:rPr lang="it-IT" sz="1100" dirty="0"/>
              <a:t>Ma un recente studio dell’ICCT ha rilevato che le emissioni NO</a:t>
            </a:r>
            <a:r>
              <a:rPr lang="it-IT" sz="1100" baseline="-25000" dirty="0"/>
              <a:t>X</a:t>
            </a:r>
            <a:r>
              <a:rPr lang="it-IT" sz="1100" dirty="0"/>
              <a:t> dei veicoli si sono ridotte solo del 40% nel passaggio da Euro 3 a Euro 6.</a:t>
            </a:r>
          </a:p>
          <a:p>
            <a:pPr lvl="1">
              <a:lnSpc>
                <a:spcPct val="100000"/>
              </a:lnSpc>
            </a:pPr>
            <a:r>
              <a:rPr lang="it-IT" sz="1100" dirty="0"/>
              <a:t>Lo studio della tedesca KBA (sui veicoli più venduti dal 2009 al 2015, solo per le categorie Euro 5 e 6) presenta risultati leggermente diversi, negativi per i veicoli Euro 5 e lievemente migliori per gli Euro 6.</a:t>
            </a:r>
          </a:p>
          <a:p>
            <a:pPr lvl="1">
              <a:lnSpc>
                <a:spcPct val="100000"/>
              </a:lnSpc>
            </a:pPr>
            <a:r>
              <a:rPr lang="it-IT" sz="1100" dirty="0"/>
              <a:t>Entrambi gli studi rivelano uno scostamento delle emissioni NO</a:t>
            </a:r>
            <a:r>
              <a:rPr lang="it-IT" sz="1100" baseline="-25000" dirty="0"/>
              <a:t>X</a:t>
            </a:r>
            <a:r>
              <a:rPr lang="it-IT" sz="1100" dirty="0"/>
              <a:t> su strada rispetto alle emissioni rilevate in laboratorio, considerando autovetture diesel dotate di tecnologie recenti.</a:t>
            </a:r>
          </a:p>
          <a:p>
            <a:pPr lvl="1">
              <a:lnSpc>
                <a:spcPct val="100000"/>
              </a:lnSpc>
            </a:pPr>
            <a:r>
              <a:rPr lang="it-IT" sz="1100" dirty="0"/>
              <a:t>Le emissioni NO</a:t>
            </a:r>
            <a:r>
              <a:rPr lang="it-IT" sz="1100" baseline="-25000" dirty="0"/>
              <a:t>X</a:t>
            </a:r>
            <a:r>
              <a:rPr lang="it-IT" sz="1100" dirty="0"/>
              <a:t> sono una questione principalmente europea, per la vasta diffusione di veicoli diesel.</a:t>
            </a:r>
          </a:p>
          <a:p>
            <a:pPr lvl="1">
              <a:lnSpc>
                <a:spcPct val="100000"/>
              </a:lnSpc>
            </a:pPr>
            <a:r>
              <a:rPr lang="it-IT" sz="1100" dirty="0"/>
              <a:t>Le emissioni reali di NO</a:t>
            </a:r>
            <a:r>
              <a:rPr lang="it-IT" sz="1100" baseline="-25000" dirty="0"/>
              <a:t>X</a:t>
            </a:r>
            <a:r>
              <a:rPr lang="it-IT" sz="1100" dirty="0"/>
              <a:t> su strada sono probabilmente dalle 5 alle 7 volte superiori rispetto ai dati di omologazione. Il WLTP sarà probabilmente da 1,5 a 3,5 volte superiore.</a:t>
            </a:r>
          </a:p>
          <a:p>
            <a:pPr lvl="1">
              <a:lnSpc>
                <a:spcPct val="100000"/>
              </a:lnSpc>
            </a:pPr>
            <a:r>
              <a:rPr lang="it-IT" sz="1100" dirty="0"/>
              <a:t>L’introduzione dei nuovi test di emissione su strada RDE (Real Drive Emission Testing) rende insostenibile l’attuale divario tra dati di omologazione ed emissioni reali.</a:t>
            </a:r>
          </a:p>
        </p:txBody>
      </p:sp>
      <p:graphicFrame>
        <p:nvGraphicFramePr>
          <p:cNvPr id="24" name="Object 23">
            <a:extLst>
              <a:ext uri="{FF2B5EF4-FFF2-40B4-BE49-F238E27FC236}">
                <a16:creationId xmlns:a16="http://schemas.microsoft.com/office/drawing/2014/main" id="{AE8DEE9C-71BB-4979-82A9-244BA5F9AB54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4863362"/>
              </p:ext>
            </p:extLst>
          </p:nvPr>
        </p:nvGraphicFramePr>
        <p:xfrm>
          <a:off x="266700" y="2552700"/>
          <a:ext cx="6248445" cy="1924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7" name="Chart" r:id="rId36" imgW="6248445" imgH="1924020" progId="MSGraph.Chart.8">
                  <p:embed followColorScheme="full"/>
                </p:oleObj>
              </mc:Choice>
              <mc:Fallback>
                <p:oleObj name="Chart" r:id="rId36" imgW="6248445" imgH="1924020" progId="MSGraph.Chart.8">
                  <p:embed followColorScheme="full"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10D16BFC-6C6B-4C4A-9135-97B7497B09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66700" y="2552700"/>
                        <a:ext cx="6248445" cy="1924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C8E5B8D-1860-4577-9009-5BB54474D33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14375" y="2378075"/>
            <a:ext cx="45339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83450E5-8237-4D64-9C36-14D43F6357BE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5248275" y="2378075"/>
            <a:ext cx="0" cy="162877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704D8CA-6118-403F-B191-D673D035AFEA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V="1">
            <a:off x="714375" y="2378075"/>
            <a:ext cx="0" cy="962025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82EC174-0F02-4042-A063-0F44DB275920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 flipV="1">
            <a:off x="1114425" y="2087563"/>
            <a:ext cx="0" cy="47148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6E20F05-4331-430E-96A7-3CA47B600EF8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114425" y="2087563"/>
            <a:ext cx="45339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B4604FB-9542-4F4D-9227-D9503E6EB06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5648325" y="2087563"/>
            <a:ext cx="0" cy="110013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1" name="Main Content">
            <a:extLst>
              <a:ext uri="{FF2B5EF4-FFF2-40B4-BE49-F238E27FC236}">
                <a16:creationId xmlns:a16="http://schemas.microsoft.com/office/drawing/2014/main" id="{26E5AFCD-58F3-474B-9243-792C1DDF860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79488" y="2597150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1,0</a:t>
            </a:r>
            <a:endParaRPr lang="it-IT" sz="1100" noProof="0" dirty="0"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32" name="Main Content">
            <a:extLst>
              <a:ext uri="{FF2B5EF4-FFF2-40B4-BE49-F238E27FC236}">
                <a16:creationId xmlns:a16="http://schemas.microsoft.com/office/drawing/2014/main" id="{CAE82E7E-FC77-458B-8EFB-328D6923EB7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79438" y="3378200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0,5</a:t>
            </a:r>
            <a:endParaRPr lang="it-IT" sz="1100" noProof="0" dirty="0"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33" name="Main Content">
            <a:extLst>
              <a:ext uri="{FF2B5EF4-FFF2-40B4-BE49-F238E27FC236}">
                <a16:creationId xmlns:a16="http://schemas.microsoft.com/office/drawing/2014/main" id="{70FA3C09-BAD2-4C16-BBFF-61B7C860B77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913438" y="3511550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sz="1100" noProof="0" dirty="0"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0,4</a:t>
            </a:r>
          </a:p>
        </p:txBody>
      </p:sp>
      <p:sp>
        <p:nvSpPr>
          <p:cNvPr id="34" name="Main Content">
            <a:extLst>
              <a:ext uri="{FF2B5EF4-FFF2-40B4-BE49-F238E27FC236}">
                <a16:creationId xmlns:a16="http://schemas.microsoft.com/office/drawing/2014/main" id="{CC50B438-DBDD-4539-B761-E134B06BE22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513388" y="3225800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0,6</a:t>
            </a:r>
            <a:endParaRPr lang="it-IT" sz="1100" noProof="0" dirty="0"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35" name="Main Content">
            <a:extLst>
              <a:ext uri="{FF2B5EF4-FFF2-40B4-BE49-F238E27FC236}">
                <a16:creationId xmlns:a16="http://schemas.microsoft.com/office/drawing/2014/main" id="{CABB0232-427D-4827-8A33-8021EA336F7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13338" y="4044950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0,1</a:t>
            </a:r>
            <a:endParaRPr lang="it-IT" sz="1100" noProof="0" dirty="0"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471EFF16-9048-4259-817D-5CF3BBB73BEF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692525" y="4443413"/>
            <a:ext cx="892175" cy="36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r>
              <a:rPr lang="en-US" alt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Euro 5</a:t>
            </a:r>
          </a:p>
          <a:p>
            <a:pPr marL="0" lvl="1" indent="0" algn="ctr">
              <a:spcBef>
                <a:spcPct val="0"/>
              </a:spcBef>
              <a:buNone/>
            </a:pPr>
            <a:r>
              <a:rPr 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(Sett 2009)</a:t>
            </a:r>
            <a:r>
              <a:rPr lang="en-US" sz="1100" baseline="300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1</a:t>
            </a:r>
            <a:endParaRPr lang="en-US" sz="1100" dirty="0">
              <a:solidFill>
                <a:schemeClr val="tx1"/>
              </a:solidFill>
              <a:ea typeface="Verdana"/>
              <a:cs typeface="Verdana"/>
              <a:sym typeface="+mn-lt"/>
            </a:endParaRP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68F7EE1-7F66-456B-AC3F-DD24F241C9F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202238" y="4443413"/>
            <a:ext cx="892175" cy="36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r>
              <a:rPr lang="en-US" alt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Euro 6 </a:t>
            </a:r>
          </a:p>
          <a:p>
            <a:pPr marL="0" lvl="1" indent="0" algn="ctr">
              <a:spcBef>
                <a:spcPct val="0"/>
              </a:spcBef>
              <a:buNone/>
            </a:pPr>
            <a:r>
              <a:rPr 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(Sett 2014)</a:t>
            </a:r>
            <a:r>
              <a:rPr lang="en-US" sz="1100" baseline="300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1</a:t>
            </a:r>
            <a:endParaRPr lang="en-US" sz="1100" dirty="0">
              <a:solidFill>
                <a:schemeClr val="tx1"/>
              </a:solidFill>
              <a:ea typeface="Verdana"/>
              <a:cs typeface="Verdana"/>
              <a:sym typeface="+mn-lt"/>
            </a:endParaRP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9E3C129C-CF07-4DC0-817C-BDE8687B1C8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103563" y="1981200"/>
            <a:ext cx="555625" cy="214313"/>
          </a:xfrm>
          <a:prstGeom prst="ellipse">
            <a:avLst/>
          </a:prstGeom>
          <a:solidFill>
            <a:schemeClr val="bg1"/>
          </a:solidFill>
          <a:ln w="9525">
            <a:solidFill>
              <a:srgbClr val="5CB335"/>
            </a:solidFill>
          </a:ln>
          <a:extLst/>
        </p:spPr>
        <p:txBody>
          <a:bodyPr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ctr">
              <a:lnSpc>
                <a:spcPct val="90000"/>
              </a:lnSpc>
              <a:spcBef>
                <a:spcPct val="0"/>
              </a:spcBef>
              <a:buNone/>
            </a:pPr>
            <a:fld id="{D89BB3D4-6E8F-4335-AC8A-3D6484B58A97}" type="datetime'''''''''''''''''''''-''''''''40''''%''''''''''''''''''''''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-40%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39" name="Text Placeholder 16">
            <a:extLst>
              <a:ext uri="{FF2B5EF4-FFF2-40B4-BE49-F238E27FC236}">
                <a16:creationId xmlns:a16="http://schemas.microsoft.com/office/drawing/2014/main" id="{A349661A-BB2B-45F8-965A-A1E1BEC296E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703513" y="2271713"/>
            <a:ext cx="555625" cy="214313"/>
          </a:xfrm>
          <a:prstGeom prst="ellipse">
            <a:avLst/>
          </a:prstGeom>
          <a:solidFill>
            <a:schemeClr val="bg1"/>
          </a:solidFill>
          <a:ln w="9525">
            <a:solidFill>
              <a:srgbClr val="5CB335"/>
            </a:solidFill>
          </a:ln>
          <a:extLst/>
        </p:spPr>
        <p:txBody>
          <a:bodyPr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ctr">
              <a:lnSpc>
                <a:spcPct val="90000"/>
              </a:lnSpc>
              <a:spcBef>
                <a:spcPct val="0"/>
              </a:spcBef>
              <a:buNone/>
            </a:pPr>
            <a:fld id="{9CD61323-E36B-4572-AC7C-E810F16D32BB}" type="datetime'''''''''''''''''''''''''''''''-''''''''''''''''''''''84''%''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-84%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40" name="Main Content">
            <a:extLst>
              <a:ext uri="{FF2B5EF4-FFF2-40B4-BE49-F238E27FC236}">
                <a16:creationId xmlns:a16="http://schemas.microsoft.com/office/drawing/2014/main" id="{7522EA42-CB09-41D5-A7FE-857D7D87068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398963" y="2454275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1,1</a:t>
            </a:r>
            <a:endParaRPr lang="it-IT" sz="1100" noProof="0" dirty="0"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41" name="Main Content">
            <a:extLst>
              <a:ext uri="{FF2B5EF4-FFF2-40B4-BE49-F238E27FC236}">
                <a16:creationId xmlns:a16="http://schemas.microsoft.com/office/drawing/2014/main" id="{1E8B1675-FC76-4F8D-AE2E-00E251FE864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003675" y="2911475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0,8</a:t>
            </a:r>
            <a:endParaRPr lang="it-IT" sz="1100" noProof="0" dirty="0"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42" name="Main Content">
            <a:extLst>
              <a:ext uri="{FF2B5EF4-FFF2-40B4-BE49-F238E27FC236}">
                <a16:creationId xmlns:a16="http://schemas.microsoft.com/office/drawing/2014/main" id="{9F3C8577-B57E-47A3-83FE-978844ECFD6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608388" y="3883025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0,2</a:t>
            </a:r>
            <a:endParaRPr lang="it-IT" sz="1100" noProof="0" dirty="0"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CD8ED4F3-1431-446A-B13B-681DA62926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187575" y="4443413"/>
            <a:ext cx="882650" cy="36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r>
              <a:rPr lang="en-US" alt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Euro 4</a:t>
            </a:r>
          </a:p>
          <a:p>
            <a:pPr marL="0" lvl="1" indent="0" algn="ctr">
              <a:spcBef>
                <a:spcPct val="0"/>
              </a:spcBef>
              <a:buNone/>
            </a:pPr>
            <a:r>
              <a:rPr 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(Gen 2005)</a:t>
            </a:r>
            <a:r>
              <a:rPr lang="en-US" sz="1100" baseline="300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1</a:t>
            </a:r>
            <a:endParaRPr lang="en-US" sz="1100" dirty="0">
              <a:solidFill>
                <a:schemeClr val="tx1"/>
              </a:solidFill>
              <a:ea typeface="Verdana"/>
              <a:cs typeface="Verdana"/>
              <a:sym typeface="+mn-lt"/>
            </a:endParaRPr>
          </a:p>
        </p:txBody>
      </p:sp>
      <p:sp>
        <p:nvSpPr>
          <p:cNvPr id="44" name="Main Content">
            <a:extLst>
              <a:ext uri="{FF2B5EF4-FFF2-40B4-BE49-F238E27FC236}">
                <a16:creationId xmlns:a16="http://schemas.microsoft.com/office/drawing/2014/main" id="{CCBA3E30-B46D-4629-9599-B4C92CA35FB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493963" y="2911475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0,8</a:t>
            </a:r>
            <a:endParaRPr lang="it-IT" sz="1100" noProof="0" dirty="0"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45" name="Main Content">
            <a:extLst>
              <a:ext uri="{FF2B5EF4-FFF2-40B4-BE49-F238E27FC236}">
                <a16:creationId xmlns:a16="http://schemas.microsoft.com/office/drawing/2014/main" id="{7F223E89-D4A8-4B01-AAE4-D0CC8BB70A8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093913" y="3778250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0,3</a:t>
            </a:r>
            <a:endParaRPr lang="it-IT" sz="1100" noProof="0" dirty="0"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688EEB6C-392C-4452-A203-4FD5E36ED91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73100" y="4443413"/>
            <a:ext cx="882650" cy="36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r>
              <a:rPr lang="en-US" alt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Euro 3</a:t>
            </a:r>
          </a:p>
          <a:p>
            <a:pPr marL="0" lvl="1" indent="0" algn="ctr">
              <a:spcBef>
                <a:spcPct val="0"/>
              </a:spcBef>
              <a:buNone/>
            </a:pPr>
            <a:r>
              <a:rPr 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(Gen 2000)</a:t>
            </a:r>
            <a:r>
              <a:rPr lang="en-US" sz="1100" baseline="300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1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B552FB-5095-4183-AB5B-CEB5188BA82E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423863" y="5578475"/>
            <a:ext cx="196850" cy="147638"/>
          </a:xfrm>
          <a:prstGeom prst="rect">
            <a:avLst/>
          </a:prstGeom>
          <a:solidFill>
            <a:schemeClr val="accent3"/>
          </a:solidFill>
          <a:ln w="9525">
            <a:solidFill>
              <a:srgbClr val="FFFFFF"/>
            </a:solidFill>
          </a:ln>
        </p:spPr>
        <p:txBody>
          <a:bodyPr vert="horz" wrap="none" lIns="68580" tIns="34290" rIns="68580" bIns="34290" rtlCol="0" anchor="ctr">
            <a:noAutofit/>
          </a:bodyPr>
          <a:lstStyle/>
          <a:p>
            <a:pPr algn="ctr"/>
            <a:endParaRPr lang="en-US" sz="1500" b="1" cap="all" spc="788" dirty="0">
              <a:ln w="9000" cmpd="sng">
                <a:solidFill>
                  <a:srgbClr val="9EA5C1">
                    <a:shade val="50000"/>
                    <a:satMod val="120000"/>
                  </a:srgbClr>
                </a:solidFill>
                <a:prstDash val="solid"/>
              </a:ln>
              <a:gradFill>
                <a:gsLst>
                  <a:gs pos="0">
                    <a:srgbClr val="9EA5C1">
                      <a:shade val="20000"/>
                      <a:satMod val="245000"/>
                    </a:srgbClr>
                  </a:gs>
                  <a:gs pos="43000">
                    <a:srgbClr val="9EA5C1">
                      <a:satMod val="255000"/>
                    </a:srgbClr>
                  </a:gs>
                  <a:gs pos="48000">
                    <a:srgbClr val="9EA5C1">
                      <a:shade val="85000"/>
                      <a:satMod val="255000"/>
                    </a:srgbClr>
                  </a:gs>
                  <a:gs pos="100000">
                    <a:srgbClr val="9EA5C1">
                      <a:shade val="20000"/>
                      <a:satMod val="245000"/>
                    </a:srgb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0E66246-0354-40DA-BF62-BBDC33DD5361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423863" y="5326063"/>
            <a:ext cx="196850" cy="1476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900" dirty="0">
              <a:solidFill>
                <a:srgbClr val="FFFFFF"/>
              </a:solidFill>
              <a:latin typeface="Arial" charset="0"/>
              <a:ea typeface="ＭＳ Ｐゴシック" pitchFamily="1" charset="-128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09D57D9-FE15-4357-A985-ADB1E8A1CECB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23863" y="5073650"/>
            <a:ext cx="196850" cy="1476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900" dirty="0">
              <a:solidFill>
                <a:srgbClr val="FFFFFF"/>
              </a:solidFill>
              <a:latin typeface="Arial" charset="0"/>
              <a:ea typeface="ＭＳ Ｐゴシック" pitchFamily="1" charset="-128"/>
            </a:endParaRP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6B4C8090-FC20-4E3B-B011-584C6195FA3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71514" y="5068888"/>
            <a:ext cx="2525713" cy="201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it-IT" alt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Limite di emissione NO</a:t>
            </a:r>
            <a:r>
              <a:rPr lang="it-IT" sz="1200" baseline="-25000" dirty="0">
                <a:solidFill>
                  <a:schemeClr val="tx1"/>
                </a:solidFill>
              </a:rPr>
              <a:t>X</a:t>
            </a:r>
            <a:r>
              <a:rPr lang="it-IT" alt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 Euro Diesel</a:t>
            </a:r>
            <a:endParaRPr lang="it-IT" sz="1100" dirty="0">
              <a:solidFill>
                <a:schemeClr val="tx1"/>
              </a:solidFill>
              <a:ea typeface="Verdana"/>
              <a:cs typeface="Verdana"/>
              <a:sym typeface="+mn-lt"/>
            </a:endParaRP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1392B4A4-97E2-4B70-A5CD-FABCEB039EA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71513" y="5321300"/>
            <a:ext cx="2901950" cy="201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it-IT" alt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Emissioni NO</a:t>
            </a:r>
            <a:r>
              <a:rPr lang="it-IT" sz="1200" baseline="-25000" dirty="0">
                <a:solidFill>
                  <a:schemeClr val="tx1"/>
                </a:solidFill>
              </a:rPr>
              <a:t>X</a:t>
            </a:r>
            <a:r>
              <a:rPr lang="it-IT" altLang="en-US" sz="1100" dirty="0">
                <a:solidFill>
                  <a:schemeClr val="tx1"/>
                </a:solidFill>
                <a:ea typeface="Verdana"/>
                <a:cs typeface="Verdana"/>
                <a:sym typeface="+mn-lt"/>
              </a:rPr>
              <a:t> diesel reali/su strada ICCT</a:t>
            </a:r>
            <a:endParaRPr lang="it-IT" sz="1100" dirty="0">
              <a:solidFill>
                <a:schemeClr val="tx1"/>
              </a:solidFill>
              <a:ea typeface="Verdana"/>
              <a:cs typeface="Verdana"/>
              <a:sym typeface="+mn-lt"/>
            </a:endParaRP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C54BC1D3-72DC-463F-9EEC-F4AE7D975F2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71514" y="5573713"/>
            <a:ext cx="2989263" cy="201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it-IT" sz="1100" dirty="0">
                <a:solidFill>
                  <a:schemeClr val="tx1"/>
                </a:solidFill>
                <a:cs typeface="Verdana" panose="020B0604030504040204" pitchFamily="34" charset="0"/>
              </a:rPr>
              <a:t>Emissioni NO</a:t>
            </a:r>
            <a:r>
              <a:rPr lang="it-IT" sz="1200" baseline="-25000" dirty="0">
                <a:solidFill>
                  <a:schemeClr val="tx1"/>
                </a:solidFill>
              </a:rPr>
              <a:t>X</a:t>
            </a:r>
            <a:r>
              <a:rPr lang="it-IT" sz="1100" dirty="0">
                <a:solidFill>
                  <a:schemeClr val="tx1"/>
                </a:solidFill>
                <a:cs typeface="Verdana" panose="020B0604030504040204" pitchFamily="34" charset="0"/>
              </a:rPr>
              <a:t> diesel reali/su strada KBAW</a:t>
            </a:r>
            <a:endParaRPr lang="it-IT" sz="1100" dirty="0">
              <a:solidFill>
                <a:schemeClr val="tx1"/>
              </a:solidFill>
              <a:ea typeface="Verdana"/>
              <a:cs typeface="Verdana"/>
              <a:sym typeface="+mn-lt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ACD3133-D745-4CD0-BB9B-A64291923180}"/>
              </a:ext>
            </a:extLst>
          </p:cNvPr>
          <p:cNvGrpSpPr/>
          <p:nvPr/>
        </p:nvGrpSpPr>
        <p:grpSpPr>
          <a:xfrm>
            <a:off x="905912" y="1797006"/>
            <a:ext cx="5388526" cy="205347"/>
            <a:chOff x="830349" y="3660775"/>
            <a:chExt cx="4583172" cy="219998"/>
          </a:xfrm>
          <a:solidFill>
            <a:srgbClr val="ADAFB2"/>
          </a:solidFill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D134FA03-17CF-4780-89AD-B39567A47158}"/>
                </a:ext>
              </a:extLst>
            </p:cNvPr>
            <p:cNvSpPr/>
            <p:nvPr/>
          </p:nvSpPr>
          <p:spPr bwMode="auto">
            <a:xfrm>
              <a:off x="830349" y="3664773"/>
              <a:ext cx="354698" cy="216000"/>
            </a:xfrm>
            <a:prstGeom prst="rect">
              <a:avLst/>
            </a:prstGeom>
            <a:solidFill>
              <a:schemeClr val="bg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050" dirty="0">
                  <a:solidFill>
                    <a:schemeClr val="bg1"/>
                  </a:solidFill>
                  <a:ea typeface="ＭＳ Ｐゴシック" pitchFamily="1" charset="-128"/>
                </a:rPr>
                <a:t>X 2,0</a:t>
              </a:r>
              <a:endParaRPr lang="en-US" sz="1050" dirty="0">
                <a:solidFill>
                  <a:schemeClr val="bg1"/>
                </a:solidFill>
                <a:ea typeface="ＭＳ Ｐゴシック" pitchFamily="1" charset="-128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7FF208C-A6FB-4E93-969F-E93CA2F5EC04}"/>
                </a:ext>
              </a:extLst>
            </p:cNvPr>
            <p:cNvSpPr/>
            <p:nvPr/>
          </p:nvSpPr>
          <p:spPr bwMode="auto">
            <a:xfrm>
              <a:off x="2126991" y="3660775"/>
              <a:ext cx="354698" cy="216000"/>
            </a:xfrm>
            <a:prstGeom prst="rect">
              <a:avLst/>
            </a:prstGeom>
            <a:solidFill>
              <a:schemeClr val="bg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050" dirty="0">
                  <a:solidFill>
                    <a:schemeClr val="bg1"/>
                  </a:solidFill>
                  <a:ea typeface="ＭＳ Ｐゴシック" pitchFamily="1" charset="-128"/>
                </a:rPr>
                <a:t>X 3,2</a:t>
              </a:r>
              <a:endParaRPr lang="en-US" sz="1050" dirty="0">
                <a:solidFill>
                  <a:schemeClr val="bg1"/>
                </a:solidFill>
                <a:ea typeface="ＭＳ Ｐゴシック" pitchFamily="1" charset="-128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AEC2D279-6C68-455A-A440-DC7F14867B1B}"/>
                </a:ext>
              </a:extLst>
            </p:cNvPr>
            <p:cNvSpPr/>
            <p:nvPr/>
          </p:nvSpPr>
          <p:spPr bwMode="auto">
            <a:xfrm>
              <a:off x="3396255" y="3660775"/>
              <a:ext cx="354698" cy="216000"/>
            </a:xfrm>
            <a:prstGeom prst="rect">
              <a:avLst/>
            </a:prstGeom>
            <a:solidFill>
              <a:schemeClr val="bg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050" dirty="0">
                  <a:solidFill>
                    <a:schemeClr val="bg1"/>
                  </a:solidFill>
                  <a:ea typeface="ＭＳ Ｐゴシック" pitchFamily="1" charset="-128"/>
                </a:rPr>
                <a:t>X 4,4</a:t>
              </a:r>
              <a:endParaRPr lang="en-US" sz="1050" dirty="0">
                <a:solidFill>
                  <a:schemeClr val="bg1"/>
                </a:solidFill>
                <a:ea typeface="ＭＳ Ｐゴシック" pitchFamily="1" charset="-128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3069684-F154-4B54-9E57-D9F189E31FA5}"/>
                </a:ext>
              </a:extLst>
            </p:cNvPr>
            <p:cNvSpPr/>
            <p:nvPr/>
          </p:nvSpPr>
          <p:spPr bwMode="auto">
            <a:xfrm>
              <a:off x="4676276" y="3660775"/>
              <a:ext cx="354698" cy="216000"/>
            </a:xfrm>
            <a:prstGeom prst="rect">
              <a:avLst/>
            </a:prstGeom>
            <a:solidFill>
              <a:schemeClr val="bg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050" dirty="0">
                  <a:solidFill>
                    <a:schemeClr val="bg1"/>
                  </a:solidFill>
                  <a:ea typeface="ＭＳ Ｐゴシック" pitchFamily="1" charset="-128"/>
                </a:rPr>
                <a:t>X 7,5</a:t>
              </a:r>
              <a:endParaRPr lang="en-US" sz="1050" dirty="0">
                <a:solidFill>
                  <a:schemeClr val="bg1"/>
                </a:solidFill>
                <a:ea typeface="ＭＳ Ｐゴシック" pitchFamily="1" charset="-128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9B10B3C5-87E6-4B42-89FB-D29807EC3200}"/>
                </a:ext>
              </a:extLst>
            </p:cNvPr>
            <p:cNvSpPr/>
            <p:nvPr/>
          </p:nvSpPr>
          <p:spPr bwMode="auto">
            <a:xfrm>
              <a:off x="3775177" y="3660775"/>
              <a:ext cx="354698" cy="216000"/>
            </a:xfrm>
            <a:prstGeom prst="rect">
              <a:avLst/>
            </a:prstGeom>
            <a:solidFill>
              <a:schemeClr val="bg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050" dirty="0">
                  <a:solidFill>
                    <a:schemeClr val="bg1"/>
                  </a:solidFill>
                  <a:ea typeface="ＭＳ Ｐゴシック" pitchFamily="1" charset="-128"/>
                </a:rPr>
                <a:t>X 6,1</a:t>
              </a:r>
              <a:endParaRPr lang="en-US" sz="1050" dirty="0">
                <a:solidFill>
                  <a:schemeClr val="bg1"/>
                </a:solidFill>
                <a:ea typeface="ＭＳ Ｐゴシック" pitchFamily="1" charset="-128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F04838DA-1C86-465E-830B-8B6793A450A5}"/>
                </a:ext>
              </a:extLst>
            </p:cNvPr>
            <p:cNvSpPr/>
            <p:nvPr/>
          </p:nvSpPr>
          <p:spPr bwMode="auto">
            <a:xfrm>
              <a:off x="5058823" y="3660775"/>
              <a:ext cx="354698" cy="216000"/>
            </a:xfrm>
            <a:prstGeom prst="rect">
              <a:avLst/>
            </a:prstGeom>
            <a:solidFill>
              <a:schemeClr val="bg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de-DE" sz="1050" dirty="0">
                  <a:solidFill>
                    <a:schemeClr val="bg1"/>
                  </a:solidFill>
                  <a:ea typeface="ＭＳ Ｐゴシック" pitchFamily="1" charset="-128"/>
                </a:rPr>
                <a:t>X 5,3</a:t>
              </a:r>
              <a:endParaRPr lang="en-US" sz="1050" dirty="0">
                <a:solidFill>
                  <a:schemeClr val="bg1"/>
                </a:solidFill>
                <a:ea typeface="ＭＳ Ｐゴシック" pitchFamily="1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21516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9961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4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10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8301" y="423158"/>
            <a:ext cx="11448000" cy="719842"/>
          </a:xfrm>
        </p:spPr>
        <p:txBody>
          <a:bodyPr/>
          <a:lstStyle/>
          <a:p>
            <a:r>
              <a:rPr lang="it-IT" dirty="0"/>
              <a:t>Per raggiungere i target di CO</a:t>
            </a:r>
            <a:r>
              <a:rPr lang="it-IT" baseline="-25000" dirty="0"/>
              <a:t>2</a:t>
            </a:r>
            <a:r>
              <a:rPr lang="it-IT" dirty="0"/>
              <a:t> del 2021 secondo gli standard WLTP i costruttori dovranno più che raddoppiare il tasso annuale di riduzio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68301" y="6164264"/>
            <a:ext cx="11448000" cy="171735"/>
          </a:xfrm>
        </p:spPr>
        <p:txBody>
          <a:bodyPr/>
          <a:lstStyle/>
          <a:p>
            <a:r>
              <a:rPr lang="en-GB" sz="1000" dirty="0"/>
              <a:t>Fonte: AlixPartners</a:t>
            </a:r>
            <a:br>
              <a:rPr lang="en-GB" sz="1000" dirty="0"/>
            </a:br>
            <a:r>
              <a:rPr lang="en-GB" sz="1000" dirty="0"/>
              <a:t>Nota: 1. WLTP </a:t>
            </a:r>
            <a:r>
              <a:rPr lang="en-GB" sz="1000" dirty="0" err="1"/>
              <a:t>Woldwide</a:t>
            </a:r>
            <a:r>
              <a:rPr lang="en-GB" sz="1000" dirty="0"/>
              <a:t> harmonized Light vehicles Test Producer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013A7881-44BC-4093-8153-DD4C35D4F25D}"/>
              </a:ext>
            </a:extLst>
          </p:cNvPr>
          <p:cNvSpPr txBox="1">
            <a:spLocks/>
          </p:cNvSpPr>
          <p:nvPr/>
        </p:nvSpPr>
        <p:spPr>
          <a:xfrm>
            <a:off x="6756401" y="1828799"/>
            <a:ext cx="5059900" cy="394992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</a:pPr>
            <a:r>
              <a:rPr lang="it-IT" sz="1100" dirty="0"/>
              <a:t>Il WLTP è stato introdotto a settembre 2017. L’applicazione sarà graduale e fino a settembre 2018 riguarderà solo i modelli di nuova omologazione.</a:t>
            </a:r>
          </a:p>
          <a:p>
            <a:pPr lvl="1">
              <a:lnSpc>
                <a:spcPct val="100000"/>
              </a:lnSpc>
            </a:pPr>
            <a:r>
              <a:rPr lang="it-IT" sz="1100" dirty="0"/>
              <a:t>Le emissioni reali di CO</a:t>
            </a:r>
            <a:r>
              <a:rPr lang="it-IT" sz="1100" baseline="-25000" dirty="0"/>
              <a:t>2</a:t>
            </a:r>
            <a:r>
              <a:rPr lang="it-IT" sz="1100" dirty="0"/>
              <a:t> sono probabilmente superiori del 40% al 50% rispetto al livello di omologazione</a:t>
            </a:r>
          </a:p>
          <a:p>
            <a:pPr lvl="1">
              <a:lnSpc>
                <a:spcPct val="100000"/>
              </a:lnSpc>
            </a:pPr>
            <a:r>
              <a:rPr lang="it-IT" sz="1100" dirty="0"/>
              <a:t>Il WLTP intende ridurre parzialmente il divario esistente tra i risultati dei test di emissione su strada e il NEDC (Nuovo ciclo di omologazione europeo).</a:t>
            </a:r>
          </a:p>
          <a:p>
            <a:pPr lvl="1">
              <a:lnSpc>
                <a:spcPct val="100000"/>
              </a:lnSpc>
            </a:pPr>
            <a:r>
              <a:rPr lang="it-IT" sz="1100" dirty="0"/>
              <a:t>La riduzione del 20% del gap si traduce in un incremento del tasso annuale di riduzione delle emissioni di CO</a:t>
            </a:r>
            <a:r>
              <a:rPr lang="it-IT" sz="1100" baseline="-25000" dirty="0"/>
              <a:t>2</a:t>
            </a:r>
            <a:r>
              <a:rPr lang="it-IT" sz="1100" dirty="0"/>
              <a:t> di 5pp che l’OEM dovrà raggiungere entro il 2021.</a:t>
            </a:r>
          </a:p>
          <a:p>
            <a:pPr lvl="1">
              <a:lnSpc>
                <a:spcPct val="100000"/>
              </a:lnSpc>
            </a:pPr>
            <a:endParaRPr lang="it-IT" sz="1100" dirty="0"/>
          </a:p>
        </p:txBody>
      </p:sp>
      <p:sp>
        <p:nvSpPr>
          <p:cNvPr id="60" name="SubHeaderV">
            <a:extLst>
              <a:ext uri="{FF2B5EF4-FFF2-40B4-BE49-F238E27FC236}">
                <a16:creationId xmlns:a16="http://schemas.microsoft.com/office/drawing/2014/main" id="{3AA9D354-DA7D-4C07-95A2-EE21BAF161E8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68301" y="1149627"/>
            <a:ext cx="11456987" cy="22328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r>
              <a:rPr lang="it-IT" dirty="0"/>
              <a:t>Target di riduzione pro-forma dell’OEM per raggiungere i target di CO</a:t>
            </a:r>
            <a:r>
              <a:rPr lang="it-IT" baseline="-25000" dirty="0"/>
              <a:t>2</a:t>
            </a:r>
            <a:r>
              <a:rPr lang="it-IT" dirty="0"/>
              <a:t> nel 2021</a:t>
            </a:r>
          </a:p>
        </p:txBody>
      </p:sp>
      <p:graphicFrame>
        <p:nvGraphicFramePr>
          <p:cNvPr id="61" name="Object 60">
            <a:extLst>
              <a:ext uri="{FF2B5EF4-FFF2-40B4-BE49-F238E27FC236}">
                <a16:creationId xmlns:a16="http://schemas.microsoft.com/office/drawing/2014/main" id="{AEBA459C-7BA9-4E5B-9687-0166CED55B6C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59789796"/>
              </p:ext>
            </p:extLst>
          </p:nvPr>
        </p:nvGraphicFramePr>
        <p:xfrm>
          <a:off x="190500" y="1638300"/>
          <a:ext cx="6372166" cy="26859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5" name="Chart" r:id="rId23" imgW="6372166" imgH="2685960" progId="MSGraph.Chart.8">
                  <p:embed followColorScheme="full"/>
                </p:oleObj>
              </mc:Choice>
              <mc:Fallback>
                <p:oleObj name="Chart" r:id="rId23" imgW="6372166" imgH="2685960" progId="MSGraph.Chart.8">
                  <p:embed followColorScheme="full"/>
                  <p:pic>
                    <p:nvPicPr>
                      <p:cNvPr id="27" name="Object 26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90500" y="1638300"/>
                        <a:ext cx="6372166" cy="26859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603A71BD-87D2-4C53-9344-33ECF2CA118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 flipV="1">
            <a:off x="6022975" y="4265613"/>
            <a:ext cx="184150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93570001-8B2E-4C80-A246-7A63C0E29487}" type="datetime'''''''''''''O''E''''''''''''''M'''''''''''''''' ''1''''''1''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OEM 11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9534B892-0C2F-4F02-96DF-CFB43F92AC0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 flipV="1">
            <a:off x="5475288" y="4265613"/>
            <a:ext cx="184150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256F3962-DBBD-4ED4-B1CD-25541B8630C0}" type="datetime'''''''''''''''''''''''''''O''''''EM 1''''0''''''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OEM 10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68" name="Text Placeholder 5">
            <a:extLst>
              <a:ext uri="{FF2B5EF4-FFF2-40B4-BE49-F238E27FC236}">
                <a16:creationId xmlns:a16="http://schemas.microsoft.com/office/drawing/2014/main" id="{97C8832B-93F8-46CB-8754-FE57E8EB251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 flipV="1">
            <a:off x="4927600" y="4265613"/>
            <a:ext cx="184150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BE6BD97F-D17C-45F6-BEB4-395421143630}" type="datetime'''''''''''''''''''O''''''''''E''''''''''''''M'''''' 9''''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OEM 9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FC51B768-9914-4A2D-9137-7DA881B63F3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 flipV="1">
            <a:off x="4379913" y="4265613"/>
            <a:ext cx="184150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28B56D78-3E51-4BB7-A987-AECEA599F5A0}" type="datetime'O''''''E''''''M'''' ''''''''''''''''''''''''''''''''8''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OEM 8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25912640-87D3-4226-BCC2-42B8A9334C6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 flipV="1">
            <a:off x="3832225" y="4265613"/>
            <a:ext cx="184150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70D4B197-EF82-4589-9789-9B2D77AD1203}" type="datetime'''O''''E''''''M'''''' 7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OEM 7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77" name="Text Placeholder 5">
            <a:extLst>
              <a:ext uri="{FF2B5EF4-FFF2-40B4-BE49-F238E27FC236}">
                <a16:creationId xmlns:a16="http://schemas.microsoft.com/office/drawing/2014/main" id="{5D387404-CBE1-42AD-96F4-5682DF68AAF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 flipV="1">
            <a:off x="3284538" y="4265613"/>
            <a:ext cx="184150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0634F82E-A7FC-4FF2-B670-87EF41F1CB13}" type="datetime'''OE''''M'''''' ''''''''''6''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OEM 6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80" name="Text Placeholder 5">
            <a:extLst>
              <a:ext uri="{FF2B5EF4-FFF2-40B4-BE49-F238E27FC236}">
                <a16:creationId xmlns:a16="http://schemas.microsoft.com/office/drawing/2014/main" id="{0EBA92A4-7F35-40EE-B636-DBA395A27ED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 flipV="1">
            <a:off x="2736850" y="4265613"/>
            <a:ext cx="184150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500F59C8-908A-4DC2-A631-EC92E30F6D9F}" type="datetime'''O''''''EM ''''''5''''''''''''''''''''''''''''''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OEM 5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83" name="Text Placeholder 5">
            <a:extLst>
              <a:ext uri="{FF2B5EF4-FFF2-40B4-BE49-F238E27FC236}">
                <a16:creationId xmlns:a16="http://schemas.microsoft.com/office/drawing/2014/main" id="{2ACA506B-C7E7-4A03-BA61-5137550AD6B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 flipV="1">
            <a:off x="2189163" y="4265613"/>
            <a:ext cx="184150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BF5DBF7A-5007-4A28-8C49-9F85C964A57A}" type="datetime'''''''O''E''M'''''''' ''''4''''''''''''''''''''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OEM 4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86" name="Text Placeholder 5">
            <a:extLst>
              <a:ext uri="{FF2B5EF4-FFF2-40B4-BE49-F238E27FC236}">
                <a16:creationId xmlns:a16="http://schemas.microsoft.com/office/drawing/2014/main" id="{ADE9AD83-1275-4ACA-B3CA-9CDE08B89AB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 flipV="1">
            <a:off x="1641475" y="4265613"/>
            <a:ext cx="184150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FAF37337-6FCF-4083-A56F-5D4653092A98}" type="datetime'''O''''''''''''''''EM ''3''''''''''''''''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OEM 3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89" name="Text Placeholder 5">
            <a:extLst>
              <a:ext uri="{FF2B5EF4-FFF2-40B4-BE49-F238E27FC236}">
                <a16:creationId xmlns:a16="http://schemas.microsoft.com/office/drawing/2014/main" id="{7D6E6AD6-4486-46D9-AB09-815917F209C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 flipV="1">
            <a:off x="1093788" y="4265613"/>
            <a:ext cx="184150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7E517265-6489-4393-A734-A37060A6A94D}" type="datetime'O''E''''''M'''''''''''' ''''2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OEM 2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92" name="Text Placeholder 5">
            <a:extLst>
              <a:ext uri="{FF2B5EF4-FFF2-40B4-BE49-F238E27FC236}">
                <a16:creationId xmlns:a16="http://schemas.microsoft.com/office/drawing/2014/main" id="{13557F69-A800-47DA-9994-933B8C26A86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 flipV="1">
            <a:off x="546100" y="4265613"/>
            <a:ext cx="184150" cy="45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DD642C03-E4AF-4073-A3BC-84CD0EF6D43F}" type="datetime'''''''''''O''''''''''''''E''M'''''''' ''''''''''1'">
              <a:rPr lang="en-US" altLang="en-US" sz="110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pPr/>
              <a:t>OEM 1</a:t>
            </a:fld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C5F135D-63EC-4F92-9839-FC54A5B50DC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23863" y="5372100"/>
            <a:ext cx="196850" cy="1476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900" dirty="0">
              <a:solidFill>
                <a:srgbClr val="FFFFFF"/>
              </a:solidFill>
              <a:latin typeface="Arial" charset="0"/>
              <a:ea typeface="ＭＳ Ｐゴシック" pitchFamily="1" charset="-128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293E53A0-8518-4AB3-8ED0-C3E49698B38B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23863" y="5137150"/>
            <a:ext cx="196850" cy="1476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en-US" sz="900" dirty="0">
              <a:solidFill>
                <a:srgbClr val="FFFFFF"/>
              </a:solidFill>
              <a:latin typeface="Arial" charset="0"/>
              <a:ea typeface="ＭＳ Ｐゴシック" pitchFamily="1" charset="-128"/>
            </a:endParaRPr>
          </a:p>
        </p:txBody>
      </p:sp>
      <p:sp>
        <p:nvSpPr>
          <p:cNvPr id="97" name="Text Placeholder 1">
            <a:extLst>
              <a:ext uri="{FF2B5EF4-FFF2-40B4-BE49-F238E27FC236}">
                <a16:creationId xmlns:a16="http://schemas.microsoft.com/office/drawing/2014/main" id="{B5340B15-1C35-45F0-BDFC-6498E31D46F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71513" y="5367338"/>
            <a:ext cx="4583113" cy="18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it-IT" sz="1100" dirty="0">
                <a:solidFill>
                  <a:schemeClr val="tx1"/>
                </a:solidFill>
                <a:cs typeface="Verdana" panose="020B0604030504040204" pitchFamily="34" charset="0"/>
              </a:rPr>
              <a:t>2017-2021 Media annuale per le attività di riduzione </a:t>
            </a:r>
            <a:r>
              <a:rPr lang="it-IT" sz="1100" dirty="0">
                <a:solidFill>
                  <a:schemeClr val="tx1"/>
                </a:solidFill>
              </a:rPr>
              <a:t>CO</a:t>
            </a:r>
            <a:r>
              <a:rPr lang="it-IT" sz="1100" baseline="-25000" dirty="0">
                <a:solidFill>
                  <a:schemeClr val="tx1"/>
                </a:solidFill>
              </a:rPr>
              <a:t>2</a:t>
            </a:r>
            <a:r>
              <a:rPr lang="it-IT" sz="1100" dirty="0">
                <a:solidFill>
                  <a:schemeClr val="tx1"/>
                </a:solidFill>
                <a:cs typeface="Verdana" panose="020B0604030504040204" pitchFamily="34" charset="0"/>
              </a:rPr>
              <a:t> – WLTP</a:t>
            </a:r>
            <a:endParaRPr lang="it-IT" sz="1100" dirty="0">
              <a:solidFill>
                <a:schemeClr val="tx1"/>
              </a:solidFill>
              <a:cs typeface="Verdana" panose="020B0604030504040204" pitchFamily="34" charset="0"/>
              <a:sym typeface="+mn-lt"/>
            </a:endParaRPr>
          </a:p>
        </p:txBody>
      </p:sp>
      <p:sp>
        <p:nvSpPr>
          <p:cNvPr id="98" name="Text Placeholder 70">
            <a:extLst>
              <a:ext uri="{FF2B5EF4-FFF2-40B4-BE49-F238E27FC236}">
                <a16:creationId xmlns:a16="http://schemas.microsoft.com/office/drawing/2014/main" id="{9DC27F49-6B9E-4766-9151-28DAF053604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71513" y="5132388"/>
            <a:ext cx="4595813" cy="18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19063" indent="-1190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8E34"/>
              </a:buClr>
              <a:buFont typeface="Webdings" pitchFamily="-109" charset="2"/>
              <a:buChar char="4"/>
              <a:defRPr>
                <a:solidFill>
                  <a:schemeClr val="bg2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47663" indent="-114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600">
                <a:solidFill>
                  <a:schemeClr val="bg2"/>
                </a:solidFill>
                <a:latin typeface="+mn-lt"/>
                <a:ea typeface="+mn-ea"/>
              </a:defRPr>
            </a:lvl2pPr>
            <a:lvl3pPr marL="685800" indent="-106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400">
                <a:solidFill>
                  <a:schemeClr val="bg2"/>
                </a:solidFill>
                <a:latin typeface="+mn-lt"/>
                <a:ea typeface="+mn-ea"/>
              </a:defRPr>
            </a:lvl3pPr>
            <a:lvl4pPr marL="973138" indent="-1047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200">
                <a:solidFill>
                  <a:schemeClr val="bg2"/>
                </a:solidFill>
                <a:latin typeface="+mn-lt"/>
                <a:ea typeface="+mn-ea"/>
              </a:defRPr>
            </a:lvl4pPr>
            <a:lvl5pPr marL="12620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-109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5pPr>
            <a:lvl6pPr marL="17192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it-IT" altLang="en-US" sz="1100" dirty="0">
                <a:solidFill>
                  <a:schemeClr val="tx1"/>
                </a:solidFill>
                <a:cs typeface="Verdana" panose="020B0604030504040204" pitchFamily="34" charset="0"/>
                <a:sym typeface="+mn-lt"/>
              </a:rPr>
              <a:t>2017-2021 Media annuale per le attività di riduzione </a:t>
            </a:r>
            <a:r>
              <a:rPr lang="it-IT" sz="1100" dirty="0">
                <a:solidFill>
                  <a:schemeClr val="tx1"/>
                </a:solidFill>
              </a:rPr>
              <a:t>CO</a:t>
            </a:r>
            <a:r>
              <a:rPr lang="it-IT" sz="1100" baseline="-25000" dirty="0">
                <a:solidFill>
                  <a:schemeClr val="tx1"/>
                </a:solidFill>
              </a:rPr>
              <a:t>2</a:t>
            </a:r>
            <a:r>
              <a:rPr lang="it-IT" altLang="en-US" sz="1100" dirty="0">
                <a:solidFill>
                  <a:schemeClr val="tx1"/>
                </a:solidFill>
                <a:cs typeface="Verdana" panose="020B0604030504040204" pitchFamily="34" charset="0"/>
                <a:sym typeface="+mn-lt"/>
              </a:rPr>
              <a:t> – NEDC</a:t>
            </a:r>
            <a:endParaRPr lang="it-IT" sz="1100" dirty="0">
              <a:solidFill>
                <a:schemeClr val="tx1"/>
              </a:solidFill>
              <a:cs typeface="Verdana" panose="020B060403050404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0645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4311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11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8301" y="423158"/>
            <a:ext cx="11448000" cy="719842"/>
          </a:xfrm>
        </p:spPr>
        <p:txBody>
          <a:bodyPr/>
          <a:lstStyle/>
          <a:p>
            <a:r>
              <a:rPr lang="it-IT" dirty="0"/>
              <a:t>Le riduzioni dei costi delle batterie continuano a superare le aspettative: un’evoluzione che traina verosimilmente, ad esempio, Tesla Model 3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68301" y="6164264"/>
            <a:ext cx="11448000" cy="171735"/>
          </a:xfrm>
        </p:spPr>
        <p:txBody>
          <a:bodyPr/>
          <a:lstStyle/>
          <a:p>
            <a:r>
              <a:rPr lang="en-GB" sz="1000" dirty="0"/>
              <a:t> </a:t>
            </a:r>
          </a:p>
        </p:txBody>
      </p:sp>
      <p:sp>
        <p:nvSpPr>
          <p:cNvPr id="60" name="SubHeaderV">
            <a:extLst>
              <a:ext uri="{FF2B5EF4-FFF2-40B4-BE49-F238E27FC236}">
                <a16:creationId xmlns:a16="http://schemas.microsoft.com/office/drawing/2014/main" id="{3AA9D354-DA7D-4C07-95A2-EE21BAF161E8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68301" y="1149627"/>
            <a:ext cx="6013449" cy="22328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r>
              <a:rPr lang="it-IT" dirty="0"/>
              <a:t>Evoluzione del costo della batteria per i consumatori, 2010-2035 ($ per kwh) </a:t>
            </a:r>
          </a:p>
        </p:txBody>
      </p:sp>
      <p:sp>
        <p:nvSpPr>
          <p:cNvPr id="24" name="SubHeaderV">
            <a:extLst>
              <a:ext uri="{FF2B5EF4-FFF2-40B4-BE49-F238E27FC236}">
                <a16:creationId xmlns:a16="http://schemas.microsoft.com/office/drawing/2014/main" id="{38B47C41-DD94-43F6-B723-3457B56EF51F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6631709" y="1149627"/>
            <a:ext cx="5184592" cy="22328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b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r>
              <a:rPr lang="it-IT" dirty="0"/>
              <a:t>Dal Model S al Model 3</a:t>
            </a:r>
          </a:p>
        </p:txBody>
      </p:sp>
      <p:graphicFrame>
        <p:nvGraphicFramePr>
          <p:cNvPr id="25" name="Object 14">
            <a:extLst>
              <a:ext uri="{FF2B5EF4-FFF2-40B4-BE49-F238E27FC236}">
                <a16:creationId xmlns:a16="http://schemas.microsoft.com/office/drawing/2014/main" id="{DBB271A6-732C-4733-B57C-2C3EB33482B1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2972202"/>
              </p:ext>
            </p:extLst>
          </p:nvPr>
        </p:nvGraphicFramePr>
        <p:xfrm>
          <a:off x="182891" y="1660172"/>
          <a:ext cx="6223000" cy="4504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0" name="Chevron">
            <a:extLst>
              <a:ext uri="{FF2B5EF4-FFF2-40B4-BE49-F238E27FC236}">
                <a16:creationId xmlns:a16="http://schemas.microsoft.com/office/drawing/2014/main" id="{F8C75709-D457-458F-B362-39A23F008E49}"/>
              </a:ext>
            </a:extLst>
          </p:cNvPr>
          <p:cNvSpPr/>
          <p:nvPr/>
        </p:nvSpPr>
        <p:spPr bwMode="auto">
          <a:xfrm>
            <a:off x="6231591" y="2911322"/>
            <a:ext cx="578784" cy="905544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pitchFamily="1" charset="-128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FA7A8B7-AC19-4F7D-8F4D-699167E20645}"/>
              </a:ext>
            </a:extLst>
          </p:cNvPr>
          <p:cNvSpPr/>
          <p:nvPr/>
        </p:nvSpPr>
        <p:spPr bwMode="auto">
          <a:xfrm>
            <a:off x="6631709" y="5333492"/>
            <a:ext cx="5184592" cy="72353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tIns="137160" bIns="137160" anchor="ctr">
            <a:noAutofit/>
          </a:bodyPr>
          <a:lstStyle/>
          <a:p>
            <a:pPr algn="ctr"/>
            <a:r>
              <a:rPr lang="en-GB" sz="1200" b="1" dirty="0" err="1">
                <a:solidFill>
                  <a:schemeClr val="bg1"/>
                </a:solidFill>
              </a:rPr>
              <a:t>Costi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legati</a:t>
            </a:r>
            <a:r>
              <a:rPr lang="en-GB" sz="1200" b="1" dirty="0">
                <a:solidFill>
                  <a:schemeClr val="bg1"/>
                </a:solidFill>
              </a:rPr>
              <a:t> a </a:t>
            </a:r>
            <a:r>
              <a:rPr lang="en-GB" sz="1200" b="1" dirty="0" err="1">
                <a:solidFill>
                  <a:schemeClr val="bg1"/>
                </a:solidFill>
              </a:rPr>
              <a:t>materiali</a:t>
            </a:r>
            <a:r>
              <a:rPr lang="en-GB" sz="1200" b="1" dirty="0">
                <a:solidFill>
                  <a:schemeClr val="bg1"/>
                </a:solidFill>
              </a:rPr>
              <a:t> e </a:t>
            </a:r>
            <a:r>
              <a:rPr lang="en-GB" sz="1200" b="1" dirty="0" err="1">
                <a:solidFill>
                  <a:schemeClr val="bg1"/>
                </a:solidFill>
              </a:rPr>
              <a:t>produzione</a:t>
            </a:r>
            <a:r>
              <a:rPr lang="en-GB" sz="1200" b="1" dirty="0">
                <a:solidFill>
                  <a:schemeClr val="bg1"/>
                </a:solidFill>
              </a:rPr>
              <a:t> in </a:t>
            </a:r>
            <a:r>
              <a:rPr lang="en-GB" sz="1200" b="1" dirty="0" err="1">
                <a:solidFill>
                  <a:schemeClr val="bg1"/>
                </a:solidFill>
              </a:rPr>
              <a:t>calo</a:t>
            </a:r>
            <a:r>
              <a:rPr lang="en-GB" sz="1200" b="1" dirty="0">
                <a:solidFill>
                  <a:schemeClr val="bg1"/>
                </a:solidFill>
              </a:rPr>
              <a:t> di circa $20.000, con un </a:t>
            </a:r>
            <a:r>
              <a:rPr lang="en-GB" sz="1200" b="1" dirty="0" err="1">
                <a:solidFill>
                  <a:schemeClr val="bg1"/>
                </a:solidFill>
              </a:rPr>
              <a:t>impatto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tra</a:t>
            </a:r>
            <a:r>
              <a:rPr lang="en-GB" sz="1200" b="1" dirty="0">
                <a:solidFill>
                  <a:schemeClr val="bg1"/>
                </a:solidFill>
              </a:rPr>
              <a:t> $30.000 e $40.000 </a:t>
            </a:r>
            <a:r>
              <a:rPr lang="en-GB" sz="1200" b="1" dirty="0" err="1">
                <a:solidFill>
                  <a:schemeClr val="bg1"/>
                </a:solidFill>
              </a:rPr>
              <a:t>sul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prezzo</a:t>
            </a:r>
            <a:r>
              <a:rPr lang="en-GB" sz="1200" b="1" dirty="0">
                <a:solidFill>
                  <a:schemeClr val="bg1"/>
                </a:solidFill>
              </a:rPr>
              <a:t> al </a:t>
            </a:r>
            <a:r>
              <a:rPr lang="en-GB" sz="1200" b="1" dirty="0" err="1">
                <a:solidFill>
                  <a:schemeClr val="bg1"/>
                </a:solidFill>
              </a:rPr>
              <a:t>consumatore</a:t>
            </a:r>
            <a:endParaRPr lang="en-GB" sz="1200" b="1" dirty="0">
              <a:solidFill>
                <a:schemeClr val="bg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56EE451-CA0F-4D41-A35C-645F4FEC0797}"/>
              </a:ext>
            </a:extLst>
          </p:cNvPr>
          <p:cNvGrpSpPr/>
          <p:nvPr/>
        </p:nvGrpSpPr>
        <p:grpSpPr>
          <a:xfrm>
            <a:off x="6726609" y="1473201"/>
            <a:ext cx="5098679" cy="3772718"/>
            <a:chOff x="6631709" y="1572657"/>
            <a:chExt cx="5098679" cy="367326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D97E23D0-0A44-41A0-9776-17E721BADE46}"/>
                </a:ext>
              </a:extLst>
            </p:cNvPr>
            <p:cNvSpPr/>
            <p:nvPr/>
          </p:nvSpPr>
          <p:spPr bwMode="auto">
            <a:xfrm rot="3654289">
              <a:off x="7649594" y="2912124"/>
              <a:ext cx="3244881" cy="1287496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sz="900" dirty="0">
                <a:solidFill>
                  <a:schemeClr val="bg1"/>
                </a:solidFill>
                <a:latin typeface="Arial" charset="0"/>
                <a:ea typeface="ＭＳ Ｐゴシック" pitchFamily="1" charset="-128"/>
              </a:endParaRPr>
            </a:p>
          </p:txBody>
        </p:sp>
        <p:pic>
          <p:nvPicPr>
            <p:cNvPr id="33" name="Picture 8">
              <a:extLst>
                <a:ext uri="{FF2B5EF4-FFF2-40B4-BE49-F238E27FC236}">
                  <a16:creationId xmlns:a16="http://schemas.microsoft.com/office/drawing/2014/main" id="{1F48C548-92D4-4AD0-A912-2834DE01910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0"/>
            <a:stretch/>
          </p:blipFill>
          <p:spPr bwMode="auto">
            <a:xfrm>
              <a:off x="8776237" y="4275907"/>
              <a:ext cx="2954151" cy="9700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9">
              <a:extLst>
                <a:ext uri="{FF2B5EF4-FFF2-40B4-BE49-F238E27FC236}">
                  <a16:creationId xmlns:a16="http://schemas.microsoft.com/office/drawing/2014/main" id="{17F70E12-DD63-40A0-967F-37C8526E90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1709" y="1572657"/>
              <a:ext cx="2625302" cy="950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AFDF873-3DC2-4211-BF5F-EC2DDA46B477}"/>
                </a:ext>
              </a:extLst>
            </p:cNvPr>
            <p:cNvSpPr/>
            <p:nvPr/>
          </p:nvSpPr>
          <p:spPr bwMode="auto">
            <a:xfrm>
              <a:off x="8666923" y="2693165"/>
              <a:ext cx="1539377" cy="631637"/>
            </a:xfrm>
            <a:prstGeom prst="rect">
              <a:avLst/>
            </a:prstGeom>
            <a:solidFill>
              <a:srgbClr val="5CB335"/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34290" rIns="5400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100" dirty="0" err="1">
                  <a:solidFill>
                    <a:schemeClr val="bg1"/>
                  </a:solidFill>
                  <a:ea typeface="ＭＳ Ｐゴシック" pitchFamily="1" charset="-128"/>
                </a:rPr>
                <a:t>Batteria</a:t>
              </a:r>
              <a:r>
                <a:rPr lang="en-GB" sz="1100" dirty="0">
                  <a:solidFill>
                    <a:schemeClr val="bg1"/>
                  </a:solidFill>
                  <a:ea typeface="ＭＳ Ｐゴシック" pitchFamily="1" charset="-128"/>
                </a:rPr>
                <a:t> e </a:t>
              </a:r>
              <a:r>
                <a:rPr lang="en-GB" sz="1100" dirty="0" err="1">
                  <a:solidFill>
                    <a:schemeClr val="bg1"/>
                  </a:solidFill>
                  <a:ea typeface="ＭＳ Ｐゴシック" pitchFamily="1" charset="-128"/>
                </a:rPr>
                <a:t>carica</a:t>
              </a:r>
              <a:r>
                <a:rPr lang="en-GB" sz="1100" dirty="0">
                  <a:solidFill>
                    <a:schemeClr val="bg1"/>
                  </a:solidFill>
                  <a:ea typeface="ＭＳ Ｐゴシック" pitchFamily="1" charset="-128"/>
                </a:rPr>
                <a:t> </a:t>
              </a:r>
            </a:p>
            <a:p>
              <a:pPr algn="ctr"/>
              <a:r>
                <a:rPr lang="en-GB" sz="1100" dirty="0">
                  <a:solidFill>
                    <a:schemeClr val="bg1"/>
                  </a:solidFill>
                  <a:ea typeface="ＭＳ Ｐゴシック" pitchFamily="1" charset="-128"/>
                </a:rPr>
                <a:t>$14.000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3745BAE-69D6-4FA0-A680-09232326212B}"/>
                </a:ext>
              </a:extLst>
            </p:cNvPr>
            <p:cNvSpPr/>
            <p:nvPr/>
          </p:nvSpPr>
          <p:spPr bwMode="auto">
            <a:xfrm>
              <a:off x="7057204" y="2898598"/>
              <a:ext cx="1539377" cy="631637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100" dirty="0" err="1">
                  <a:solidFill>
                    <a:schemeClr val="bg1"/>
                  </a:solidFill>
                  <a:ea typeface="ＭＳ Ｐゴシック" pitchFamily="1" charset="-128"/>
                </a:rPr>
                <a:t>Interni</a:t>
              </a:r>
              <a:r>
                <a:rPr lang="en-GB" sz="1100" dirty="0">
                  <a:solidFill>
                    <a:schemeClr val="bg1"/>
                  </a:solidFill>
                  <a:ea typeface="ＭＳ Ｐゴシック" pitchFamily="1" charset="-128"/>
                </a:rPr>
                <a:t>/</a:t>
              </a:r>
              <a:r>
                <a:rPr lang="en-GB" sz="1100" dirty="0" err="1">
                  <a:solidFill>
                    <a:schemeClr val="bg1"/>
                  </a:solidFill>
                  <a:ea typeface="ＭＳ Ｐゴシック" pitchFamily="1" charset="-128"/>
                </a:rPr>
                <a:t>Esterni</a:t>
              </a:r>
              <a:endParaRPr lang="en-GB" sz="1100" dirty="0">
                <a:solidFill>
                  <a:schemeClr val="bg1"/>
                </a:solidFill>
                <a:ea typeface="ＭＳ Ｐゴシック" pitchFamily="1" charset="-128"/>
              </a:endParaRPr>
            </a:p>
            <a:p>
              <a:pPr algn="ctr"/>
              <a:r>
                <a:rPr lang="en-GB" sz="1100" dirty="0">
                  <a:solidFill>
                    <a:schemeClr val="bg1"/>
                  </a:solidFill>
                  <a:ea typeface="ＭＳ Ｐゴシック" pitchFamily="1" charset="-128"/>
                </a:rPr>
                <a:t>$2.000 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6B6818A-9799-4B88-981E-3138F5CCA0F3}"/>
                </a:ext>
              </a:extLst>
            </p:cNvPr>
            <p:cNvSpPr/>
            <p:nvPr/>
          </p:nvSpPr>
          <p:spPr bwMode="auto">
            <a:xfrm>
              <a:off x="8953152" y="3484536"/>
              <a:ext cx="1539377" cy="631637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100" dirty="0" err="1">
                  <a:solidFill>
                    <a:schemeClr val="bg1"/>
                  </a:solidFill>
                  <a:ea typeface="ＭＳ Ｐゴシック" pitchFamily="1" charset="-128"/>
                </a:rPr>
                <a:t>Telaio</a:t>
              </a:r>
              <a:r>
                <a:rPr lang="en-GB" sz="1100" dirty="0">
                  <a:solidFill>
                    <a:schemeClr val="bg1"/>
                  </a:solidFill>
                  <a:ea typeface="ＭＳ Ｐゴシック" pitchFamily="1" charset="-128"/>
                </a:rPr>
                <a:t>/</a:t>
              </a:r>
              <a:r>
                <a:rPr lang="en-GB" sz="1100" dirty="0" err="1">
                  <a:solidFill>
                    <a:schemeClr val="bg1"/>
                  </a:solidFill>
                  <a:ea typeface="ＭＳ Ｐゴシック" pitchFamily="1" charset="-128"/>
                </a:rPr>
                <a:t>Carrozzeria</a:t>
              </a:r>
              <a:endParaRPr lang="en-GB" sz="1100" dirty="0">
                <a:solidFill>
                  <a:schemeClr val="bg1"/>
                </a:solidFill>
                <a:ea typeface="ＭＳ Ｐゴシック" pitchFamily="1" charset="-128"/>
              </a:endParaRPr>
            </a:p>
            <a:p>
              <a:pPr algn="ctr"/>
              <a:r>
                <a:rPr lang="en-GB" sz="1100" dirty="0">
                  <a:solidFill>
                    <a:schemeClr val="bg1"/>
                  </a:solidFill>
                  <a:ea typeface="ＭＳ Ｐゴシック" pitchFamily="1" charset="-128"/>
                </a:rPr>
                <a:t>$1.000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29441D1-6B78-4782-94C5-290E93249010}"/>
                </a:ext>
              </a:extLst>
            </p:cNvPr>
            <p:cNvSpPr/>
            <p:nvPr/>
          </p:nvSpPr>
          <p:spPr bwMode="auto">
            <a:xfrm>
              <a:off x="7263846" y="3588945"/>
              <a:ext cx="1539377" cy="631637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100" dirty="0">
                  <a:solidFill>
                    <a:schemeClr val="bg1"/>
                  </a:solidFill>
                  <a:ea typeface="ＭＳ Ｐゴシック" pitchFamily="1" charset="-128"/>
                </a:rPr>
                <a:t>Scala</a:t>
              </a:r>
            </a:p>
            <a:p>
              <a:pPr algn="ctr"/>
              <a:r>
                <a:rPr lang="en-GB" sz="1100" dirty="0">
                  <a:solidFill>
                    <a:schemeClr val="bg1"/>
                  </a:solidFill>
                  <a:ea typeface="ＭＳ Ｐゴシック" pitchFamily="1" charset="-128"/>
                </a:rPr>
                <a:t>$3.000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0A92B63-C941-4B35-A84E-84909A301DD6}"/>
              </a:ext>
            </a:extLst>
          </p:cNvPr>
          <p:cNvGrpSpPr/>
          <p:nvPr/>
        </p:nvGrpSpPr>
        <p:grpSpPr>
          <a:xfrm>
            <a:off x="965200" y="1660171"/>
            <a:ext cx="5270500" cy="3695429"/>
            <a:chOff x="654359" y="1248267"/>
            <a:chExt cx="3810155" cy="2671504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C2767DA-2D73-4F2B-A6E7-CF03C8918B64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 bwMode="auto">
            <a:xfrm>
              <a:off x="654359" y="3744239"/>
              <a:ext cx="3709163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C8A867A-D50C-4F08-B835-528D5507E0C7}"/>
                </a:ext>
              </a:extLst>
            </p:cNvPr>
            <p:cNvSpPr txBox="1"/>
            <p:nvPr/>
          </p:nvSpPr>
          <p:spPr>
            <a:xfrm>
              <a:off x="2420701" y="3767952"/>
              <a:ext cx="2043813" cy="12237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dirty="0"/>
                <a:t>$100 per </a:t>
              </a:r>
              <a:r>
                <a:rPr lang="en-GB" dirty="0" err="1"/>
                <a:t>KWh</a:t>
              </a:r>
              <a:r>
                <a:rPr lang="en-GB" dirty="0"/>
                <a:t> per </a:t>
              </a:r>
              <a:r>
                <a:rPr lang="en-GB" dirty="0" err="1"/>
                <a:t>competere</a:t>
              </a:r>
              <a:r>
                <a:rPr lang="en-GB" dirty="0"/>
                <a:t> con ICEs</a:t>
              </a: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A13C57A-0358-4A14-9460-FC881F66182E}"/>
                </a:ext>
              </a:extLst>
            </p:cNvPr>
            <p:cNvCxnSpPr/>
            <p:nvPr/>
          </p:nvCxnSpPr>
          <p:spPr bwMode="auto">
            <a:xfrm>
              <a:off x="1871141" y="1443461"/>
              <a:ext cx="0" cy="247631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rgbClr val="FF600F"/>
              </a:solidFill>
              <a:prstDash val="solid"/>
              <a:round/>
              <a:headEnd type="none" w="med" len="med"/>
              <a:tailEnd type="stealth" w="med" len="med"/>
            </a:ln>
            <a:effectLst/>
          </p:spPr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BD816D6-381E-49FF-B9B8-D7F9184D2538}"/>
                </a:ext>
              </a:extLst>
            </p:cNvPr>
            <p:cNvSpPr txBox="1"/>
            <p:nvPr/>
          </p:nvSpPr>
          <p:spPr>
            <a:xfrm>
              <a:off x="1494903" y="1248267"/>
              <a:ext cx="751115" cy="172640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spAutoFit/>
            </a:bodyPr>
            <a:lstStyle/>
            <a:p>
              <a:pPr algn="ctr"/>
              <a:r>
                <a:rPr lang="en-GB" sz="1200" b="1" dirty="0" err="1"/>
                <a:t>Oggi</a:t>
              </a:r>
              <a:endParaRPr lang="en-GB" sz="1200" b="1" dirty="0"/>
            </a:p>
          </p:txBody>
        </p:sp>
        <p:sp>
          <p:nvSpPr>
            <p:cNvPr id="44" name="Isosceles Triangle 43">
              <a:extLst>
                <a:ext uri="{FF2B5EF4-FFF2-40B4-BE49-F238E27FC236}">
                  <a16:creationId xmlns:a16="http://schemas.microsoft.com/office/drawing/2014/main" id="{A13A3C03-2D41-4BE5-AC7E-B0D92D32F095}"/>
                </a:ext>
              </a:extLst>
            </p:cNvPr>
            <p:cNvSpPr/>
            <p:nvPr/>
          </p:nvSpPr>
          <p:spPr bwMode="auto">
            <a:xfrm>
              <a:off x="1816372" y="3498968"/>
              <a:ext cx="108012" cy="108000"/>
            </a:xfrm>
            <a:prstGeom prst="triangle">
              <a:avLst/>
            </a:prstGeom>
            <a:solidFill>
              <a:srgbClr val="FF600F"/>
            </a:solidFill>
            <a:ln w="9525" cap="flat" cmpd="sng" algn="ctr">
              <a:solidFill>
                <a:srgbClr val="FF600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27000" rIns="67500" bIns="270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sz="900" dirty="0">
                <a:solidFill>
                  <a:srgbClr val="C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47" name="Isosceles Triangle 46">
              <a:extLst>
                <a:ext uri="{FF2B5EF4-FFF2-40B4-BE49-F238E27FC236}">
                  <a16:creationId xmlns:a16="http://schemas.microsoft.com/office/drawing/2014/main" id="{04998828-8F2F-44C5-BD7E-CFD8C075B0C3}"/>
                </a:ext>
              </a:extLst>
            </p:cNvPr>
            <p:cNvSpPr/>
            <p:nvPr/>
          </p:nvSpPr>
          <p:spPr bwMode="auto">
            <a:xfrm>
              <a:off x="2356916" y="3621602"/>
              <a:ext cx="108012" cy="108000"/>
            </a:xfrm>
            <a:prstGeom prst="triangle">
              <a:avLst/>
            </a:prstGeom>
            <a:solidFill>
              <a:srgbClr val="FF600F"/>
            </a:solidFill>
            <a:ln w="9525" cap="flat" cmpd="sng" algn="ctr">
              <a:solidFill>
                <a:srgbClr val="FF600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27000" rIns="67500" bIns="270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sz="900" dirty="0">
                <a:solidFill>
                  <a:srgbClr val="C00000"/>
                </a:solidFill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48" name="Isosceles Triangle 47">
              <a:extLst>
                <a:ext uri="{FF2B5EF4-FFF2-40B4-BE49-F238E27FC236}">
                  <a16:creationId xmlns:a16="http://schemas.microsoft.com/office/drawing/2014/main" id="{E87C54EE-19CC-4D41-A7D9-735658B008D4}"/>
                </a:ext>
              </a:extLst>
            </p:cNvPr>
            <p:cNvSpPr/>
            <p:nvPr/>
          </p:nvSpPr>
          <p:spPr bwMode="auto">
            <a:xfrm>
              <a:off x="1821134" y="3390621"/>
              <a:ext cx="108012" cy="108000"/>
            </a:xfrm>
            <a:prstGeom prst="triangle">
              <a:avLst/>
            </a:prstGeom>
            <a:solidFill>
              <a:schemeClr val="accent5"/>
            </a:solidFill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7500" tIns="27000" rIns="67500" bIns="270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sz="900" dirty="0">
                <a:solidFill>
                  <a:srgbClr val="C00000"/>
                </a:solidFill>
                <a:latin typeface="Arial" charset="0"/>
                <a:ea typeface="ＭＳ Ｐゴシック" pitchFamily="1" charset="-128"/>
              </a:endParaRPr>
            </a:p>
          </p:txBody>
        </p:sp>
      </p:grpSp>
      <p:grpSp>
        <p:nvGrpSpPr>
          <p:cNvPr id="51" name="ChartPointCallout2">
            <a:extLst>
              <a:ext uri="{FF2B5EF4-FFF2-40B4-BE49-F238E27FC236}">
                <a16:creationId xmlns:a16="http://schemas.microsoft.com/office/drawing/2014/main" id="{D8A56448-9BD3-46A8-BBA4-C60043998C84}"/>
              </a:ext>
            </a:extLst>
          </p:cNvPr>
          <p:cNvGrpSpPr/>
          <p:nvPr/>
        </p:nvGrpSpPr>
        <p:grpSpPr>
          <a:xfrm>
            <a:off x="2728584" y="3078323"/>
            <a:ext cx="1437240" cy="1545316"/>
            <a:chOff x="6147141" y="2904778"/>
            <a:chExt cx="3028338" cy="2893279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91406A19-4F88-40FE-9D22-6BEF05C1CA1D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6879181" y="2904778"/>
              <a:ext cx="2296298" cy="901554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5CB33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rtlCol="0" anchor="ctr">
              <a:noAutofit/>
            </a:bodyPr>
            <a:lstStyle/>
            <a:p>
              <a:pPr fontAlgn="ctr">
                <a:lnSpc>
                  <a:spcPct val="100000"/>
                </a:lnSpc>
                <a:spcAft>
                  <a:spcPts val="0"/>
                </a:spcAft>
              </a:pPr>
              <a:r>
                <a:rPr lang="it-IT" sz="800" dirty="0">
                  <a:ea typeface="ＭＳ Ｐゴシック" pitchFamily="1" charset="-128"/>
                </a:rPr>
                <a:t>Tesla prevede un costo pari a circa $190/KWh</a:t>
              </a:r>
            </a:p>
          </p:txBody>
        </p:sp>
        <p:cxnSp>
          <p:nvCxnSpPr>
            <p:cNvPr id="53" name="Elbow Connector 66">
              <a:extLst>
                <a:ext uri="{FF2B5EF4-FFF2-40B4-BE49-F238E27FC236}">
                  <a16:creationId xmlns:a16="http://schemas.microsoft.com/office/drawing/2014/main" id="{D78D1B73-22E7-4196-934A-15083185A83B}"/>
                </a:ext>
              </a:extLst>
            </p:cNvPr>
            <p:cNvCxnSpPr>
              <a:cxnSpLocks/>
              <a:stCxn id="52" idx="2"/>
            </p:cNvCxnSpPr>
            <p:nvPr/>
          </p:nvCxnSpPr>
          <p:spPr bwMode="auto">
            <a:xfrm flipH="1">
              <a:off x="6147141" y="3806332"/>
              <a:ext cx="1880189" cy="1991725"/>
            </a:xfrm>
            <a:prstGeom prst="straightConnector1">
              <a:avLst/>
            </a:prstGeom>
            <a:solidFill>
              <a:schemeClr val="bg1"/>
            </a:solidFill>
            <a:ln w="12700" cap="flat" cmpd="sng" algn="ctr">
              <a:solidFill>
                <a:srgbClr val="5CB335"/>
              </a:solidFill>
              <a:prstDash val="solid"/>
              <a:round/>
              <a:headEnd type="none" w="med" len="med"/>
              <a:tailEnd type="oval" w="sm" len="sm"/>
            </a:ln>
            <a:effectLst/>
          </p:spPr>
        </p:cxnSp>
      </p:grpSp>
      <p:grpSp>
        <p:nvGrpSpPr>
          <p:cNvPr id="54" name="ChartPointCallout2">
            <a:extLst>
              <a:ext uri="{FF2B5EF4-FFF2-40B4-BE49-F238E27FC236}">
                <a16:creationId xmlns:a16="http://schemas.microsoft.com/office/drawing/2014/main" id="{9599AE88-D126-47EE-B4D3-E2C5A86CFAEC}"/>
              </a:ext>
            </a:extLst>
          </p:cNvPr>
          <p:cNvGrpSpPr/>
          <p:nvPr/>
        </p:nvGrpSpPr>
        <p:grpSpPr>
          <a:xfrm>
            <a:off x="2766428" y="3520207"/>
            <a:ext cx="3202313" cy="1325901"/>
            <a:chOff x="3041922" y="2904778"/>
            <a:chExt cx="6747438" cy="3007494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109A5FE1-180D-45DA-A5D4-C23B0CD01FC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6879179" y="2904778"/>
              <a:ext cx="2910181" cy="1522838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solidFill>
                <a:srgbClr val="5CB33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72000" tIns="72000" rIns="72000" bIns="72000" rtlCol="0" anchor="ctr">
              <a:noAutofit/>
            </a:bodyPr>
            <a:lstStyle/>
            <a:p>
              <a:pPr algn="ctr"/>
              <a:r>
                <a:rPr lang="en-GB" sz="800" dirty="0"/>
                <a:t>GM </a:t>
              </a:r>
              <a:r>
                <a:rPr lang="en-GB" sz="800" dirty="0" err="1"/>
                <a:t>prevede</a:t>
              </a:r>
              <a:r>
                <a:rPr lang="en-GB" sz="800" dirty="0"/>
                <a:t> un </a:t>
              </a:r>
              <a:r>
                <a:rPr lang="en-GB" sz="800" dirty="0" err="1"/>
                <a:t>costo</a:t>
              </a:r>
              <a:r>
                <a:rPr lang="en-GB" sz="800" dirty="0"/>
                <a:t> </a:t>
              </a:r>
              <a:r>
                <a:rPr lang="en-GB" sz="800" dirty="0" err="1"/>
                <a:t>pari</a:t>
              </a:r>
              <a:r>
                <a:rPr lang="en-GB" sz="800" dirty="0"/>
                <a:t> a $145/kWh </a:t>
              </a:r>
              <a:r>
                <a:rPr lang="en-GB" sz="800" dirty="0" err="1"/>
                <a:t>nel</a:t>
              </a:r>
              <a:r>
                <a:rPr lang="en-GB" sz="800" dirty="0"/>
                <a:t> 2016 per Bolt </a:t>
              </a:r>
              <a:r>
                <a:rPr lang="en-GB" sz="800" dirty="0" err="1"/>
                <a:t>SoP</a:t>
              </a:r>
              <a:r>
                <a:rPr lang="en-GB" sz="800" dirty="0"/>
                <a:t>. $100/kWh </a:t>
              </a:r>
              <a:r>
                <a:rPr lang="en-GB" sz="800" dirty="0" err="1"/>
                <a:t>nel</a:t>
              </a:r>
              <a:r>
                <a:rPr lang="en-GB" sz="800" dirty="0"/>
                <a:t> 2022 </a:t>
              </a:r>
            </a:p>
          </p:txBody>
        </p:sp>
        <p:cxnSp>
          <p:nvCxnSpPr>
            <p:cNvPr id="56" name="Elbow Connector 66">
              <a:extLst>
                <a:ext uri="{FF2B5EF4-FFF2-40B4-BE49-F238E27FC236}">
                  <a16:creationId xmlns:a16="http://schemas.microsoft.com/office/drawing/2014/main" id="{EB053198-5941-4996-8B16-9FEB6A3EB2C1}"/>
                </a:ext>
              </a:extLst>
            </p:cNvPr>
            <p:cNvCxnSpPr>
              <a:cxnSpLocks/>
              <a:stCxn id="55" idx="1"/>
            </p:cNvCxnSpPr>
            <p:nvPr/>
          </p:nvCxnSpPr>
          <p:spPr bwMode="auto">
            <a:xfrm flipH="1">
              <a:off x="3041922" y="3666197"/>
              <a:ext cx="3837257" cy="2246075"/>
            </a:xfrm>
            <a:prstGeom prst="straightConnector1">
              <a:avLst/>
            </a:prstGeom>
            <a:solidFill>
              <a:schemeClr val="bg1"/>
            </a:solidFill>
            <a:ln w="12700" cap="flat" cmpd="sng" algn="ctr">
              <a:solidFill>
                <a:srgbClr val="5CB335"/>
              </a:solidFill>
              <a:prstDash val="solid"/>
              <a:round/>
              <a:headEnd type="none" w="med" len="med"/>
              <a:tailEnd type="oval" w="sm" len="sm"/>
            </a:ln>
            <a:effectLst/>
          </p:spPr>
        </p:cxnSp>
      </p:grp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C80E5D6-2EE5-48DA-A6AF-53ED6352D4A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noProof="0"/>
              <a:t>Fonte: EIA, Annual Energy Outlook 2014, AlixPartners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878150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6301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7" name="think-cell Slide" r:id="rId60" imgW="270" imgH="270" progId="TCLayout.ActiveDocument.1">
                  <p:embed/>
                </p:oleObj>
              </mc:Choice>
              <mc:Fallback>
                <p:oleObj name="think-cell Slide" r:id="rId60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1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Il differenziale di costo dell’auto elettrica si ridurrà per effetto dei costi di efficientamento del propulsore tradizionale e delle economie sulle batteri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68301" y="6164264"/>
            <a:ext cx="11448000" cy="171735"/>
          </a:xfrm>
        </p:spPr>
        <p:txBody>
          <a:bodyPr/>
          <a:lstStyle/>
          <a:p>
            <a:r>
              <a:rPr lang="it-IT" sz="1000" dirty="0"/>
              <a:t>Fonte: USABC, SAE, IKA, analisi e stime AlixPartners. Nota: 1. include la gestione della batteria</a:t>
            </a:r>
          </a:p>
        </p:txBody>
      </p:sp>
      <p:sp>
        <p:nvSpPr>
          <p:cNvPr id="7" name="SubHeaderV">
            <a:extLst>
              <a:ext uri="{FF2B5EF4-FFF2-40B4-BE49-F238E27FC236}">
                <a16:creationId xmlns:a16="http://schemas.microsoft.com/office/drawing/2014/main" id="{D41F0FD8-4359-4A7A-B54C-A453B93F76CB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68301" y="1149627"/>
            <a:ext cx="11456987" cy="22328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r>
              <a:rPr lang="it-IT" dirty="0"/>
              <a:t>Confronto costi per city car: ICE vs.BEV (veicoli europei segmenti B/C; indice 2015 ICE=100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E385DE-1055-48BC-8181-F4E812C0F642}"/>
              </a:ext>
            </a:extLst>
          </p:cNvPr>
          <p:cNvSpPr txBox="1"/>
          <p:nvPr/>
        </p:nvSpPr>
        <p:spPr>
          <a:xfrm rot="16200000">
            <a:off x="-7165" y="2025650"/>
            <a:ext cx="1266825" cy="515670"/>
          </a:xfrm>
          <a:prstGeom prst="rect">
            <a:avLst/>
          </a:prstGeom>
          <a:solidFill>
            <a:schemeClr val="accent1"/>
          </a:solidFill>
        </p:spPr>
        <p:txBody>
          <a:bodyPr wrap="square" lIns="27000" tIns="27000" rIns="27000" bIns="27000"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201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EE8F18-813D-4934-8B7C-D4AE03D30DD9}"/>
              </a:ext>
            </a:extLst>
          </p:cNvPr>
          <p:cNvSpPr txBox="1"/>
          <p:nvPr/>
        </p:nvSpPr>
        <p:spPr>
          <a:xfrm rot="16200000">
            <a:off x="-263217" y="3562813"/>
            <a:ext cx="1778930" cy="515670"/>
          </a:xfrm>
          <a:prstGeom prst="rect">
            <a:avLst/>
          </a:prstGeom>
          <a:solidFill>
            <a:schemeClr val="accent2"/>
          </a:solidFill>
        </p:spPr>
        <p:txBody>
          <a:bodyPr wrap="square" lIns="27000" tIns="27000" rIns="27000" bIns="27000"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2025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CC24511-FF89-4D0F-80E7-D29785D356D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601325" y="1914525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3928999-58D5-4BE7-9746-7E2E2D11FB7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610725" y="1933575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FF3DF04-D356-4A9C-BDE8-27028F0804E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620125" y="1981200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085F717-6F92-4CDD-9173-DB0B2119C7A7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676525" y="2305050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4BB423B-E553-4948-8C3A-48E4FAE2042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629525" y="2019300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DFF98D2-C24F-44AA-AE29-C0B704AD539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685925" y="2486025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DD48606-229A-4A51-AF5A-A2AF23016DB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685925" y="2486025"/>
            <a:ext cx="5391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7A2DB75-FE12-4342-8402-EA00897B495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648325" y="2200275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5E1E900-26F3-4F5B-BB09-EF03F4ED27D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3667125" y="2238375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D197B3B-DC22-418E-9312-CC52AB65873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4657725" y="2219325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2" name="Object 31">
            <a:extLst>
              <a:ext uri="{FF2B5EF4-FFF2-40B4-BE49-F238E27FC236}">
                <a16:creationId xmlns:a16="http://schemas.microsoft.com/office/drawing/2014/main" id="{D953233E-258C-4768-9D4B-73E33335F719}"/>
              </a:ext>
            </a:extLst>
          </p:cNvPr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85768841"/>
              </p:ext>
            </p:extLst>
          </p:nvPr>
        </p:nvGraphicFramePr>
        <p:xfrm>
          <a:off x="723899" y="1562099"/>
          <a:ext cx="11249146" cy="14574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8" name="Chart" r:id="rId62" imgW="11249146" imgH="1457460" progId="MSGraph.Chart.8">
                  <p:embed followColorScheme="full"/>
                </p:oleObj>
              </mc:Choice>
              <mc:Fallback>
                <p:oleObj name="Chart" r:id="rId62" imgW="11249146" imgH="1457460" progId="MSGraph.Chart.8">
                  <p:embed followColorScheme="full"/>
                  <p:pic>
                    <p:nvPicPr>
                      <p:cNvPr id="32" name="Object 31">
                        <a:extLst>
                          <a:ext uri="{FF2B5EF4-FFF2-40B4-BE49-F238E27FC236}">
                            <a16:creationId xmlns:a16="http://schemas.microsoft.com/office/drawing/2014/main" id="{D953233E-258C-4768-9D4B-73E33335F7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723899" y="1562099"/>
                        <a:ext cx="11249146" cy="14574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C65DC40F-D0C9-4497-9F10-4EF1090EDC8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11315700" y="1530350"/>
            <a:ext cx="0" cy="152400"/>
          </a:xfrm>
          <a:prstGeom prst="line">
            <a:avLst/>
          </a:prstGeom>
          <a:noFill/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0F4EE2A3-9A80-44AA-90B8-7F19612A7739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6362700" y="1530350"/>
            <a:ext cx="4953000" cy="0"/>
          </a:xfrm>
          <a:prstGeom prst="line">
            <a:avLst/>
          </a:prstGeom>
          <a:noFill/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1396A032-5A6A-49D2-884E-FCFDDA5CA19F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V="1">
            <a:off x="6362700" y="1530350"/>
            <a:ext cx="0" cy="438150"/>
          </a:xfrm>
          <a:prstGeom prst="line">
            <a:avLst/>
          </a:prstGeom>
          <a:noFill/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 useBgFill="1">
        <p:nvSpPr>
          <p:cNvPr id="39" name="Text Placeholder 2">
            <a:extLst>
              <a:ext uri="{FF2B5EF4-FFF2-40B4-BE49-F238E27FC236}">
                <a16:creationId xmlns:a16="http://schemas.microsoft.com/office/drawing/2014/main" id="{CE7D64DE-0B45-49C4-B096-C28AC5BEC0B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307013" y="2125663"/>
            <a:ext cx="1301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CA5A484-CA94-405A-823B-4E73F73A1A3D}" type="datetime'3'''''''''''''">
              <a:rPr lang="en-GB" altLang="en-US" sz="1100">
                <a:cs typeface="+mn-cs"/>
                <a:sym typeface="+mn-lt"/>
              </a:rPr>
              <a:pPr/>
              <a:t>3</a:t>
            </a:fld>
            <a:endParaRPr lang="en-GB" sz="1100" dirty="0">
              <a:cs typeface="+mn-cs"/>
              <a:sym typeface="+mn-lt"/>
            </a:endParaRPr>
          </a:p>
        </p:txBody>
      </p:sp>
      <p:sp useBgFill="1">
        <p:nvSpPr>
          <p:cNvPr id="40" name="Text Placeholder 2">
            <a:extLst>
              <a:ext uri="{FF2B5EF4-FFF2-40B4-BE49-F238E27FC236}">
                <a16:creationId xmlns:a16="http://schemas.microsoft.com/office/drawing/2014/main" id="{BC6B0BA9-5D94-4826-9AB5-DF8A7AF777F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316413" y="2144713"/>
            <a:ext cx="1301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68A83FA-8B72-4A63-9016-BA28E02549FA}" type="datetime'''''''''''''''''''3'''''''''''''''''''''''''''''''">
              <a:rPr lang="en-GB" altLang="en-US" sz="1100">
                <a:cs typeface="+mn-cs"/>
                <a:sym typeface="+mn-lt"/>
              </a:rPr>
              <a:pPr/>
              <a:t>3</a:t>
            </a:fld>
            <a:endParaRPr lang="en-GB" sz="1100" dirty="0">
              <a:cs typeface="+mn-cs"/>
              <a:sym typeface="+mn-lt"/>
            </a:endParaRPr>
          </a:p>
        </p:txBody>
      </p:sp>
      <p:sp useBgFill="1">
        <p:nvSpPr>
          <p:cNvPr id="36" name="Text Placeholder 2">
            <a:extLst>
              <a:ext uri="{FF2B5EF4-FFF2-40B4-BE49-F238E27FC236}">
                <a16:creationId xmlns:a16="http://schemas.microsoft.com/office/drawing/2014/main" id="{1C435580-F8D9-4DF6-BBC2-A140BA9A5A3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278813" y="1916113"/>
            <a:ext cx="1301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1D7F8D3-567C-4BAA-A6DC-05917B106B82}" type="datetime'''''''''''''''''6'''''''''''''''''''''''''''''">
              <a:rPr lang="en-GB" altLang="en-US" sz="1100">
                <a:cs typeface="+mn-cs"/>
                <a:sym typeface="+mn-lt"/>
              </a:rPr>
              <a:pPr/>
              <a:t>6</a:t>
            </a:fld>
            <a:endParaRPr lang="en-GB" sz="1100" dirty="0">
              <a:cs typeface="+mn-cs"/>
              <a:sym typeface="+mn-lt"/>
            </a:endParaRPr>
          </a:p>
        </p:txBody>
      </p:sp>
      <p:sp useBgFill="1">
        <p:nvSpPr>
          <p:cNvPr id="34" name="Text Placeholder 2">
            <a:extLst>
              <a:ext uri="{FF2B5EF4-FFF2-40B4-BE49-F238E27FC236}">
                <a16:creationId xmlns:a16="http://schemas.microsoft.com/office/drawing/2014/main" id="{E96E1ADB-B6C1-4D69-B1C4-E35B07D6AEA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260013" y="1839913"/>
            <a:ext cx="1301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B5FBEBC-D60C-4668-A8ED-D2D935C87D06}" type="datetime'''''''''''''''''''3'''''''''''''''''''''''''''''''''''''''''''">
              <a:rPr lang="en-GB" altLang="en-US" sz="1100">
                <a:cs typeface="+mn-cs"/>
                <a:sym typeface="+mn-lt"/>
              </a:rPr>
              <a:pPr/>
              <a:t>3</a:t>
            </a:fld>
            <a:endParaRPr lang="en-GB" sz="1100" dirty="0">
              <a:cs typeface="+mn-cs"/>
              <a:sym typeface="+mn-lt"/>
            </a:endParaRPr>
          </a:p>
        </p:txBody>
      </p:sp>
      <p:sp useBgFill="1">
        <p:nvSpPr>
          <p:cNvPr id="35" name="Text Placeholder 2">
            <a:extLst>
              <a:ext uri="{FF2B5EF4-FFF2-40B4-BE49-F238E27FC236}">
                <a16:creationId xmlns:a16="http://schemas.microsoft.com/office/drawing/2014/main" id="{1C75EF8B-5FF0-437E-A1F5-D7FD6567086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269413" y="1873250"/>
            <a:ext cx="1301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DECF86B-EC16-48E3-B140-62EADE99E028}" type="datetime'''''''''''''''''''''''''''''''''''''''''''''''''7'''''''''''">
              <a:rPr lang="en-GB" altLang="en-US" sz="1100">
                <a:cs typeface="+mn-cs"/>
                <a:sym typeface="+mn-lt"/>
              </a:rPr>
              <a:pPr/>
              <a:t>7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129" name="Main Content">
            <a:extLst>
              <a:ext uri="{FF2B5EF4-FFF2-40B4-BE49-F238E27FC236}">
                <a16:creationId xmlns:a16="http://schemas.microsoft.com/office/drawing/2014/main" id="{7AF827B2-4C63-4808-8334-150E9026C9B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486775" y="1423988"/>
            <a:ext cx="706438" cy="21431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5CB33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100" b="1" dirty="0">
                <a:sym typeface="+mn-lt"/>
              </a:rPr>
              <a:t>+45%</a:t>
            </a:r>
            <a:endParaRPr lang="en-GB" sz="1100" b="1" noProof="0" dirty="0">
              <a:sym typeface="+mn-lt"/>
            </a:endParaRPr>
          </a:p>
        </p:txBody>
      </p:sp>
      <p:sp useBgFill="1">
        <p:nvSpPr>
          <p:cNvPr id="41" name="Text Placeholder 2">
            <a:extLst>
              <a:ext uri="{FF2B5EF4-FFF2-40B4-BE49-F238E27FC236}">
                <a16:creationId xmlns:a16="http://schemas.microsoft.com/office/drawing/2014/main" id="{46B732DD-9C60-466F-90EC-0CE2EEF2168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325813" y="2187575"/>
            <a:ext cx="1301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CACF4A9-0DFF-4A04-82D1-F83A2542B059}" type="datetime'9'''''''''''''''''''''''''''''''''''''''''''''''''''">
              <a:rPr lang="en-GB" altLang="en-US" sz="1100">
                <a:cs typeface="+mn-cs"/>
                <a:sym typeface="+mn-lt"/>
              </a:rPr>
              <a:pPr/>
              <a:t>9</a:t>
            </a:fld>
            <a:endParaRPr lang="en-GB" sz="1100" dirty="0">
              <a:cs typeface="+mn-cs"/>
              <a:sym typeface="+mn-lt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9E4B9B2-E64B-48A2-B299-C71FE71A8334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2657475" y="3438525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D3451044-BA92-4675-95BB-D0EB39265AC5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7620000" y="3419475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2876323-661F-41EC-B70C-DE56AEB99CF8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666875" y="3705225"/>
            <a:ext cx="540067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490A869-1644-431B-A9DD-FB1D4EC28BE2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666875" y="3705225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714AE8C-1DB7-457C-9ECB-4C6E00980CAB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5629275" y="3333750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D77B538-A58E-443D-814D-FCC53A9B993D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4638675" y="3352800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2565D430-A532-4AB2-ACF9-42F07AB53C69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3648075" y="3371850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6C58E5F-C329-48FD-BC1E-4A5FAD180A55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10591800" y="3333750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4A73ADD0-D1FC-4481-85F9-48249D5FF02D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8610600" y="3381375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F052EB19-4065-428C-A0BC-D5B81457653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9601200" y="3352800"/>
            <a:ext cx="4381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8" name="Object 57">
            <a:extLst>
              <a:ext uri="{FF2B5EF4-FFF2-40B4-BE49-F238E27FC236}">
                <a16:creationId xmlns:a16="http://schemas.microsoft.com/office/drawing/2014/main" id="{ED5C99F2-F635-4796-A820-CCD4AA98BEE5}"/>
              </a:ext>
            </a:extLst>
          </p:cNvPr>
          <p:cNvGraphicFramePr>
            <a:graphicFrameLocks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409155532"/>
              </p:ext>
            </p:extLst>
          </p:nvPr>
        </p:nvGraphicFramePr>
        <p:xfrm>
          <a:off x="800099" y="3009900"/>
          <a:ext cx="11115700" cy="11715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9" name="Chart" r:id="rId64" imgW="11115700" imgH="1171530" progId="MSGraph.Chart.8">
                  <p:embed followColorScheme="full"/>
                </p:oleObj>
              </mc:Choice>
              <mc:Fallback>
                <p:oleObj name="Chart" r:id="rId64" imgW="11115700" imgH="1171530" progId="MSGraph.Chart.8">
                  <p:embed followColorScheme="full"/>
                  <p:pic>
                    <p:nvPicPr>
                      <p:cNvPr id="58" name="Object 57">
                        <a:extLst>
                          <a:ext uri="{FF2B5EF4-FFF2-40B4-BE49-F238E27FC236}">
                            <a16:creationId xmlns:a16="http://schemas.microsoft.com/office/drawing/2014/main" id="{ED5C99F2-F635-4796-A820-CCD4AA98B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800099" y="3009900"/>
                        <a:ext cx="11115700" cy="11715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1A9A85A4-8227-46BF-B3CE-B003C2CDF934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 flipV="1">
            <a:off x="6348413" y="2949575"/>
            <a:ext cx="0" cy="152400"/>
          </a:xfrm>
          <a:prstGeom prst="line">
            <a:avLst/>
          </a:prstGeom>
          <a:noFill/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43ED9493-F7D2-4659-B83B-93AEB0D959BC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11306175" y="2949575"/>
            <a:ext cx="0" cy="152400"/>
          </a:xfrm>
          <a:prstGeom prst="line">
            <a:avLst/>
          </a:prstGeom>
          <a:noFill/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3316DBFD-C9F5-4CE4-B042-E848C35E8C8C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6348413" y="2949575"/>
            <a:ext cx="4957762" cy="0"/>
          </a:xfrm>
          <a:prstGeom prst="line">
            <a:avLst/>
          </a:prstGeom>
          <a:noFill/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9EF14A1E-0206-45E3-A63C-26713867096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086475" y="4157663"/>
            <a:ext cx="523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85C42F8B-7A00-4944-9381-3EAEFCE5A894}" type="datetime'''''IC''''E c''a''''''''''''''''r'''''">
              <a:rPr lang="en-GB" altLang="en-US" sz="1100">
                <a:cs typeface="+mn-cs"/>
                <a:sym typeface="+mn-lt"/>
              </a:rPr>
              <a:pPr/>
              <a:t>ICE car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A3678A0D-FDF1-4331-9F8C-FD00C0594CC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5065713" y="4157663"/>
            <a:ext cx="5746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816ED44-7C12-4F3F-8456-C275572062EC}" type="datetime'E''''x''''''''h''''''''''''''''a''''''''''u''st'''''''''''">
              <a:rPr lang="en-GB" altLang="en-US" sz="1100">
                <a:cs typeface="+mn-cs"/>
                <a:sym typeface="+mn-lt"/>
              </a:rPr>
              <a:pPr/>
              <a:t>Exhaust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83075FA-3333-46D8-BAC5-564884D7881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042400" y="4157663"/>
            <a:ext cx="5667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98C0323-7991-407F-83AF-6579A888721B}" type="datetime'''''''''E''-''Mo''''''''to''''''r'">
              <a:rPr lang="en-GB" altLang="en-US" sz="1100">
                <a:cs typeface="+mn-cs"/>
                <a:sym typeface="+mn-lt"/>
              </a:rPr>
              <a:pPr/>
              <a:t>E-Motor</a:t>
            </a:fld>
            <a:endParaRPr lang="en-GB" sz="1100" dirty="0">
              <a:cs typeface="+mn-cs"/>
              <a:sym typeface="+mn-lt"/>
            </a:endParaRPr>
          </a:p>
        </p:txBody>
      </p:sp>
      <p:sp useBgFill="1">
        <p:nvSpPr>
          <p:cNvPr id="72" name="Text Placeholder 2">
            <a:extLst>
              <a:ext uri="{FF2B5EF4-FFF2-40B4-BE49-F238E27FC236}">
                <a16:creationId xmlns:a16="http://schemas.microsoft.com/office/drawing/2014/main" id="{19AAC34F-5268-4B31-98B5-C0D8DE7DDE9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0250488" y="3259138"/>
            <a:ext cx="1301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863CB3B-273E-4EA8-BF73-DFDD01052E52}" type="datetime'''''''''''''''''''''3'''''''''''''''''''''''''''">
              <a:rPr lang="en-GB" altLang="en-US" sz="1100">
                <a:cs typeface="+mn-cs"/>
                <a:sym typeface="+mn-lt"/>
              </a:rPr>
              <a:pPr/>
              <a:t>3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56D1A547-BBBB-4CB5-A05B-29BB7295884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234238" y="3478213"/>
            <a:ext cx="2190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200" b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69875" indent="-26987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39750" indent="-26987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1200" b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09625" indent="-26987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079500" indent="-26987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1200" b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  <a:defRPr sz="2200" b="1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1350000" indent="-27000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Times" pitchFamily="1" charset="0"/>
              <a:buChar char="•"/>
              <a:defRPr sz="2200">
                <a:solidFill>
                  <a:schemeClr val="tx1"/>
                </a:solidFill>
                <a:latin typeface="+mn-lt"/>
                <a:ea typeface="+mn-ea"/>
              </a:defRPr>
            </a:lvl7pPr>
            <a:lvl8pPr marL="1620000" indent="-27000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200">
                <a:solidFill>
                  <a:schemeClr val="tx1"/>
                </a:solidFill>
                <a:latin typeface="+mn-lt"/>
                <a:ea typeface="+mn-ea"/>
              </a:defRPr>
            </a:lvl8pPr>
            <a:lvl9pPr marL="1890000" indent="-27000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Times" pitchFamily="1" charset="0"/>
              <a:buChar char="•"/>
              <a:defRPr sz="2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100" dirty="0">
                <a:solidFill>
                  <a:schemeClr val="bg1"/>
                </a:solidFill>
                <a:ea typeface="+mn-ea"/>
                <a:cs typeface="+mn-cs"/>
                <a:sym typeface="+mn-lt"/>
              </a:rPr>
              <a:t>50</a:t>
            </a:r>
            <a:endParaRPr lang="en-US" sz="1100" dirty="0">
              <a:solidFill>
                <a:schemeClr val="bg1"/>
              </a:solidFill>
              <a:ea typeface="+mn-ea"/>
              <a:cs typeface="+mn-cs"/>
              <a:sym typeface="+mn-lt"/>
            </a:endParaRPr>
          </a:p>
        </p:txBody>
      </p:sp>
      <p:sp useBgFill="1">
        <p:nvSpPr>
          <p:cNvPr id="61" name="Text Placeholder 2">
            <a:extLst>
              <a:ext uri="{FF2B5EF4-FFF2-40B4-BE49-F238E27FC236}">
                <a16:creationId xmlns:a16="http://schemas.microsoft.com/office/drawing/2014/main" id="{9C1C94DB-60B1-4AB9-9797-C4E2E086421C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287963" y="3259138"/>
            <a:ext cx="1301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9BC64BA-6E1F-447F-ABA7-887D715C6366}" type="datetime'''''''''''''''3'''''''''''''''''''''">
              <a:rPr lang="en-GB" altLang="en-US" sz="1100">
                <a:cs typeface="+mn-cs"/>
                <a:sym typeface="+mn-lt"/>
              </a:rPr>
              <a:pPr/>
              <a:t>3</a:t>
            </a:fld>
            <a:endParaRPr lang="en-GB" sz="1100" dirty="0">
              <a:cs typeface="+mn-cs"/>
              <a:sym typeface="+mn-lt"/>
            </a:endParaRPr>
          </a:p>
        </p:txBody>
      </p:sp>
      <p:sp useBgFill="1">
        <p:nvSpPr>
          <p:cNvPr id="76" name="Text Placeholder 2">
            <a:extLst>
              <a:ext uri="{FF2B5EF4-FFF2-40B4-BE49-F238E27FC236}">
                <a16:creationId xmlns:a16="http://schemas.microsoft.com/office/drawing/2014/main" id="{449A1133-4B74-49FA-85C5-81177B403E0C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269288" y="3316288"/>
            <a:ext cx="1301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D32EEF8B-7EA9-4467-B063-CC17DFF98EB1}" type="datetime'''''''''''''6'''''''''''''">
              <a:rPr lang="en-GB" altLang="en-US" sz="1100">
                <a:cs typeface="+mn-cs"/>
                <a:sym typeface="+mn-lt"/>
              </a:rPr>
              <a:pPr/>
              <a:t>6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6E320963-1060-42CC-B1D0-1132A2D910D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1074400" y="4157663"/>
            <a:ext cx="4635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0C018EA-1A9B-4F17-BE41-5A3E6E01F406}" type="datetime'''''''''''''''''''''''E''''''''V'''' ''''''c''a''''''r'">
              <a:rPr lang="en-GB" altLang="en-US" sz="1100">
                <a:cs typeface="+mn-cs"/>
                <a:sym typeface="+mn-lt"/>
              </a:rPr>
              <a:pPr/>
              <a:t>EV car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155" name="Main Content">
            <a:extLst>
              <a:ext uri="{FF2B5EF4-FFF2-40B4-BE49-F238E27FC236}">
                <a16:creationId xmlns:a16="http://schemas.microsoft.com/office/drawing/2014/main" id="{0946C7E6-F127-4971-AE21-73E03E75644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545513" y="2843213"/>
            <a:ext cx="563563" cy="21431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5CB335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100" b="1" dirty="0">
                <a:sym typeface="+mn-lt"/>
              </a:rPr>
              <a:t>+7%</a:t>
            </a:r>
            <a:endParaRPr lang="en-GB" sz="1100" b="1" noProof="0" dirty="0">
              <a:sym typeface="+mn-lt"/>
            </a:endParaRPr>
          </a:p>
        </p:txBody>
      </p:sp>
      <p:sp useBgFill="1">
        <p:nvSpPr>
          <p:cNvPr id="74" name="Text Placeholder 2">
            <a:extLst>
              <a:ext uri="{FF2B5EF4-FFF2-40B4-BE49-F238E27FC236}">
                <a16:creationId xmlns:a16="http://schemas.microsoft.com/office/drawing/2014/main" id="{6C61A9AB-CA58-43FE-B952-E2C98642EC3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9259888" y="3282950"/>
            <a:ext cx="1301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2D97C7DC-5421-4D66-BD77-B97145116A8A}" type="datetime'''''''''''''''''''''''''''''''''''''''''''''5'''">
              <a:rPr lang="en-GB" altLang="en-US" sz="1100">
                <a:cs typeface="+mn-cs"/>
                <a:sym typeface="+mn-lt"/>
              </a:rPr>
              <a:pPr/>
              <a:t>5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D7D9DF8-A0A3-40FE-8B74-F0FEBC13617C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1152188" y="3140075"/>
            <a:ext cx="3079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Tx/>
              <a:buNone/>
              <a:defRPr sz="1200" b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69875" indent="-26987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39750" indent="-26987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1200" b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09625" indent="-26987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079500" indent="-26987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1200" b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/>
              <a:buNone/>
              <a:defRPr sz="2200" b="1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1350000" indent="-27000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Times" pitchFamily="1" charset="0"/>
              <a:buChar char="•"/>
              <a:defRPr sz="2200">
                <a:solidFill>
                  <a:schemeClr val="tx1"/>
                </a:solidFill>
                <a:latin typeface="+mn-lt"/>
                <a:ea typeface="+mn-ea"/>
              </a:defRPr>
            </a:lvl7pPr>
            <a:lvl8pPr marL="1620000" indent="-27000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200">
                <a:solidFill>
                  <a:schemeClr val="tx1"/>
                </a:solidFill>
                <a:latin typeface="+mn-lt"/>
                <a:ea typeface="+mn-ea"/>
              </a:defRPr>
            </a:lvl8pPr>
            <a:lvl9pPr marL="1890000" indent="-27000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Times" pitchFamily="1" charset="0"/>
              <a:buChar char="•"/>
              <a:defRPr sz="2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100" dirty="0">
                <a:ea typeface="+mn-ea"/>
                <a:cs typeface="+mn-cs"/>
                <a:sym typeface="+mn-lt"/>
              </a:rPr>
              <a:t>121</a:t>
            </a:r>
            <a:endParaRPr lang="en-US" sz="1100" dirty="0">
              <a:ea typeface="+mn-ea"/>
              <a:cs typeface="+mn-cs"/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F670C25F-07BB-4D9F-81C0-31849ED58AB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859588" y="4157663"/>
            <a:ext cx="968375" cy="67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100" dirty="0">
                <a:cs typeface="+mn-cs"/>
                <a:sym typeface="+mn-lt"/>
              </a:rPr>
              <a:t>Li-Ion battery</a:t>
            </a:r>
            <a:r>
              <a:rPr lang="en-GB" sz="1100" baseline="30000" dirty="0">
                <a:cs typeface="+mn-cs"/>
                <a:sym typeface="+mn-lt"/>
              </a:rPr>
              <a:t>1</a:t>
            </a:r>
            <a:br>
              <a:rPr lang="en-GB" sz="1100" dirty="0">
                <a:cs typeface="+mn-cs"/>
                <a:sym typeface="+mn-lt"/>
              </a:rPr>
            </a:br>
            <a:r>
              <a:rPr lang="en-GB" sz="1100" dirty="0">
                <a:cs typeface="+mn-cs"/>
                <a:sym typeface="+mn-lt"/>
              </a:rPr>
              <a:t>2015: 25kWh</a:t>
            </a:r>
            <a:br>
              <a:rPr lang="en-GB" sz="1100" dirty="0">
                <a:cs typeface="+mn-cs"/>
                <a:sym typeface="+mn-lt"/>
              </a:rPr>
            </a:br>
            <a:r>
              <a:rPr lang="en-GB" sz="1100" dirty="0">
                <a:cs typeface="+mn-cs"/>
                <a:sym typeface="+mn-lt"/>
              </a:rPr>
              <a:t>2025: 55kWh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9C2BB86B-DEEC-4C76-B817-11BF23DFF11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847263" y="4157663"/>
            <a:ext cx="936625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9D1E243C-EF13-4705-AE03-C1F200D67837}" type="datetime'''One''''''''-''''sp''''''e''''ed''&#10;Tran''smis''''sio''''n'">
              <a:rPr lang="en-GB" altLang="en-US" sz="1100">
                <a:cs typeface="+mn-cs"/>
                <a:sym typeface="+mn-lt"/>
              </a:rPr>
              <a:pPr/>
              <a:t>One-speed
Transmission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ECC0C420-1BDA-4C58-B878-F1E6EC6FFCA4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950200" y="4157663"/>
            <a:ext cx="768350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5AB5052-8BEC-40A4-906E-DA53DF521D7D}" type="datetime'Po''we''''r''&#10;''E''''''''l''''''e''''ct''''''r''oni''''''c''s'">
              <a:rPr lang="en-GB" altLang="en-US" sz="1100">
                <a:cs typeface="+mn-cs"/>
                <a:sym typeface="+mn-lt"/>
              </a:rPr>
              <a:pPr/>
              <a:t>Power
Electronics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7B2B2E69-2AD2-4576-8CE1-7EACAA36F74C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068388" y="4157663"/>
            <a:ext cx="6445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08A08220-5B04-47E0-8E5D-59F9D44408D9}" type="datetime'C''''''''''''''ar'''''' ''b''''ody'''''''''">
              <a:rPr lang="en-GB" altLang="en-US" sz="1100">
                <a:cs typeface="+mn-cs"/>
                <a:sym typeface="+mn-lt"/>
              </a:rPr>
              <a:pPr/>
              <a:t>Car body</a:t>
            </a:fld>
            <a:endParaRPr lang="en-GB" sz="1100" dirty="0">
              <a:cs typeface="+mn-cs"/>
              <a:sym typeface="+mn-lt"/>
            </a:endParaRPr>
          </a:p>
        </p:txBody>
      </p:sp>
      <p:sp useBgFill="1">
        <p:nvSpPr>
          <p:cNvPr id="65" name="Text Placeholder 2">
            <a:extLst>
              <a:ext uri="{FF2B5EF4-FFF2-40B4-BE49-F238E27FC236}">
                <a16:creationId xmlns:a16="http://schemas.microsoft.com/office/drawing/2014/main" id="{1741143D-7C6C-4BED-824E-A673CE320C3E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262313" y="3321050"/>
            <a:ext cx="2190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C65B9A79-00B4-4504-A8A7-8A8E44AA1D60}" type="datetime'''''''''''''''''''''''''''''''''''''''''''''1''''0'''">
              <a:rPr lang="en-GB" altLang="en-US" sz="1100">
                <a:cs typeface="+mn-cs"/>
                <a:sym typeface="+mn-lt"/>
              </a:rPr>
              <a:pPr/>
              <a:t>10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FF46C94E-2C8C-452E-9A33-8095A21355CB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2138363" y="4157663"/>
            <a:ext cx="4873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8C764CD-4A34-4113-B55C-0C4F26985F0A}" type="datetime'''E''''''''''''''''n''''''''''''g''''''i''n''''e'">
              <a:rPr lang="en-GB" altLang="en-US" sz="1100">
                <a:cs typeface="+mn-cs"/>
                <a:sym typeface="+mn-lt"/>
              </a:rPr>
              <a:pPr/>
              <a:t>Engine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175CA1C-560F-4D7A-B5D7-D11B626081D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4094163" y="4157663"/>
            <a:ext cx="538163" cy="3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14B1B78D-F276-4542-B9CF-0697B160BE62}" type="datetime'Fu''''''''''''e''l''''''&#10;S''''''''''ys''t''''em'''">
              <a:rPr lang="en-GB" altLang="en-US" sz="1100">
                <a:cs typeface="+mn-cs"/>
                <a:sym typeface="+mn-lt"/>
              </a:rPr>
              <a:pPr/>
              <a:t>Fuel
System</a:t>
            </a:fld>
            <a:endParaRPr lang="en-GB" sz="1100" dirty="0">
              <a:cs typeface="+mn-cs"/>
              <a:sym typeface="+mn-lt"/>
            </a:endParaRPr>
          </a:p>
        </p:txBody>
      </p:sp>
      <p:sp useBgFill="1">
        <p:nvSpPr>
          <p:cNvPr id="63" name="Text Placeholder 2">
            <a:extLst>
              <a:ext uri="{FF2B5EF4-FFF2-40B4-BE49-F238E27FC236}">
                <a16:creationId xmlns:a16="http://schemas.microsoft.com/office/drawing/2014/main" id="{92500D13-BDFA-40F9-9990-D21D19178B49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4297363" y="3278188"/>
            <a:ext cx="130175" cy="168275"/>
          </a:xfrm>
          <a:prstGeom prst="rect">
            <a:avLst/>
          </a:prstGeom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1B888A2-65CD-48FA-BD19-767D6FE1FB97}" type="datetime'''''''''''''''''''''''''''''''3'''''''''''''''''''''''''''''''">
              <a:rPr lang="en-GB" altLang="en-US" sz="1100">
                <a:cs typeface="+mn-cs"/>
                <a:sym typeface="+mn-lt"/>
              </a:rPr>
              <a:pPr/>
              <a:t>3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AD16980A-310C-4A38-9A1D-B6DFF805253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2903538" y="4157663"/>
            <a:ext cx="9366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B68E34"/>
              </a:buClr>
              <a:buFontTx/>
              <a:buNone/>
              <a:defRPr sz="2000" b="0">
                <a:solidFill>
                  <a:schemeClr val="tx1"/>
                </a:solidFill>
                <a:latin typeface="+mn-lt"/>
                <a:ea typeface="+mn-ea"/>
                <a:cs typeface="ＭＳ Ｐゴシック" pitchFamily="-123" charset="-128"/>
              </a:defRPr>
            </a:lvl1pPr>
            <a:lvl2pPr marL="361950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714375" indent="-352425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07632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438275" indent="-3619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Calibri" panose="020F0502020204030204" pitchFamily="34" charset="0"/>
              <a:buChar char="−"/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2000" b="1">
                <a:solidFill>
                  <a:schemeClr val="accent1"/>
                </a:solidFill>
                <a:latin typeface="+mn-lt"/>
                <a:ea typeface="+mn-ea"/>
              </a:defRPr>
            </a:lvl6pPr>
            <a:lvl7pPr marL="21764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7pPr>
            <a:lvl8pPr marL="26336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8pPr>
            <a:lvl9pPr marL="3090863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376C"/>
              </a:buClr>
              <a:buFont typeface="Times" pitchFamily="1" charset="0"/>
              <a:buChar char="•"/>
              <a:defRPr sz="1000">
                <a:solidFill>
                  <a:schemeClr val="bg2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5DCDF61F-B6DE-4FCC-8988-36BEC1DB0FFA}" type="datetime'''''T''''''''''r''a''''''ns''m''''''''i''''''s''''si''''o''n'">
              <a:rPr lang="en-GB" altLang="en-US" sz="1100">
                <a:cs typeface="+mn-cs"/>
                <a:sym typeface="+mn-lt"/>
              </a:rPr>
              <a:pPr/>
              <a:t>Transmission</a:t>
            </a:fld>
            <a:endParaRPr lang="en-GB" sz="1100" dirty="0">
              <a:cs typeface="+mn-cs"/>
              <a:sym typeface="+mn-lt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6A0E43A3-2F83-4029-A283-9239AA1AD99C}"/>
              </a:ext>
            </a:extLst>
          </p:cNvPr>
          <p:cNvSpPr/>
          <p:nvPr/>
        </p:nvSpPr>
        <p:spPr bwMode="auto">
          <a:xfrm>
            <a:off x="1173499" y="4845050"/>
            <a:ext cx="434301" cy="2225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>
                <a:ea typeface="ＭＳ Ｐゴシック" pitchFamily="1" charset="-128"/>
              </a:rPr>
              <a:t>+0%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4859FDA-F6E1-4EFE-AF12-829FE9BF45F9}"/>
              </a:ext>
            </a:extLst>
          </p:cNvPr>
          <p:cNvSpPr/>
          <p:nvPr/>
        </p:nvSpPr>
        <p:spPr bwMode="auto">
          <a:xfrm>
            <a:off x="2062308" y="4845050"/>
            <a:ext cx="536022" cy="2225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b="1" dirty="0">
                <a:ea typeface="ＭＳ Ｐゴシック" pitchFamily="1" charset="-128"/>
              </a:rPr>
              <a:t>+43%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CFAFF02-6656-4957-A3BE-24E291ACB4FA}"/>
              </a:ext>
            </a:extLst>
          </p:cNvPr>
          <p:cNvSpPr/>
          <p:nvPr/>
        </p:nvSpPr>
        <p:spPr bwMode="auto">
          <a:xfrm>
            <a:off x="3117003" y="4845050"/>
            <a:ext cx="433388" cy="2225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b="1" dirty="0">
                <a:ea typeface="ＭＳ Ｐゴシック" pitchFamily="1" charset="-128"/>
              </a:rPr>
              <a:t>+7%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F968627-4989-4B03-BE4A-6B1DB57461BD}"/>
              </a:ext>
            </a:extLst>
          </p:cNvPr>
          <p:cNvSpPr/>
          <p:nvPr/>
        </p:nvSpPr>
        <p:spPr bwMode="auto">
          <a:xfrm>
            <a:off x="4103688" y="4845050"/>
            <a:ext cx="468295" cy="2225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>
                <a:ea typeface="ＭＳ Ｐゴシック" pitchFamily="1" charset="-128"/>
              </a:rPr>
              <a:t>+0%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56A7F5B-1F6F-47D3-9C09-5BD2196B3B42}"/>
              </a:ext>
            </a:extLst>
          </p:cNvPr>
          <p:cNvSpPr/>
          <p:nvPr/>
        </p:nvSpPr>
        <p:spPr bwMode="auto">
          <a:xfrm>
            <a:off x="5068093" y="4845050"/>
            <a:ext cx="569913" cy="2225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b="1" dirty="0">
                <a:ea typeface="ＭＳ Ｐゴシック" pitchFamily="1" charset="-128"/>
              </a:rPr>
              <a:t>+22%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50BBDC8-0766-4A78-9AB6-5B2CD401373D}"/>
              </a:ext>
            </a:extLst>
          </p:cNvPr>
          <p:cNvSpPr/>
          <p:nvPr/>
        </p:nvSpPr>
        <p:spPr bwMode="auto">
          <a:xfrm>
            <a:off x="7063727" y="4845050"/>
            <a:ext cx="532301" cy="2225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b="1" dirty="0">
                <a:ea typeface="ＭＳ Ｐゴシック" pitchFamily="1" charset="-128"/>
              </a:rPr>
              <a:t>(30%)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181EC3D-DB41-4F73-BD2C-6EC7A08447C9}"/>
              </a:ext>
            </a:extLst>
          </p:cNvPr>
          <p:cNvSpPr/>
          <p:nvPr/>
        </p:nvSpPr>
        <p:spPr bwMode="auto">
          <a:xfrm>
            <a:off x="8110945" y="4846638"/>
            <a:ext cx="429072" cy="2225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>
                <a:ea typeface="ＭＳ Ｐゴシック" pitchFamily="1" charset="-128"/>
              </a:rPr>
              <a:t>(2%)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8CAEE26A-89FC-4EC3-8017-202368659CAB}"/>
              </a:ext>
            </a:extLst>
          </p:cNvPr>
          <p:cNvSpPr/>
          <p:nvPr/>
        </p:nvSpPr>
        <p:spPr bwMode="auto">
          <a:xfrm>
            <a:off x="9041448" y="4845050"/>
            <a:ext cx="581025" cy="2225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b="1" dirty="0">
                <a:ea typeface="ＭＳ Ｐゴシック" pitchFamily="1" charset="-128"/>
              </a:rPr>
              <a:t>(30%)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8CB37A8-2657-4BD3-936D-8FD9FEF7FB21}"/>
              </a:ext>
            </a:extLst>
          </p:cNvPr>
          <p:cNvSpPr/>
          <p:nvPr/>
        </p:nvSpPr>
        <p:spPr bwMode="auto">
          <a:xfrm>
            <a:off x="10152886" y="4845050"/>
            <a:ext cx="429072" cy="2225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>
                <a:ea typeface="ＭＳ Ｐゴシック" pitchFamily="1" charset="-128"/>
              </a:rPr>
              <a:t>(5%)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3B77903-47C9-4808-A61D-87A09DA4C347}"/>
              </a:ext>
            </a:extLst>
          </p:cNvPr>
          <p:cNvSpPr/>
          <p:nvPr/>
        </p:nvSpPr>
        <p:spPr bwMode="auto">
          <a:xfrm>
            <a:off x="11014795" y="4845050"/>
            <a:ext cx="618302" cy="2225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100" dirty="0">
                <a:ea typeface="ＭＳ Ｐゴシック" pitchFamily="1" charset="-128"/>
              </a:rPr>
              <a:t>(15%)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7F6E14CD-39CD-4FF1-BBBA-BABB3032CFAF}"/>
              </a:ext>
            </a:extLst>
          </p:cNvPr>
          <p:cNvSpPr txBox="1"/>
          <p:nvPr/>
        </p:nvSpPr>
        <p:spPr>
          <a:xfrm rot="16200000">
            <a:off x="-41586" y="5132702"/>
            <a:ext cx="1335521" cy="518915"/>
          </a:xfrm>
          <a:prstGeom prst="rect">
            <a:avLst/>
          </a:prstGeom>
          <a:solidFill>
            <a:schemeClr val="accent3"/>
          </a:solidFill>
        </p:spPr>
        <p:txBody>
          <a:bodyPr wrap="square" lIns="27000" tIns="27000" rIns="27000" bIns="27000"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2025/2015 delta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22943540-4D9C-4C76-B05F-F661D1C8F83D}"/>
              </a:ext>
            </a:extLst>
          </p:cNvPr>
          <p:cNvSpPr/>
          <p:nvPr/>
        </p:nvSpPr>
        <p:spPr bwMode="auto">
          <a:xfrm>
            <a:off x="1477035" y="5497560"/>
            <a:ext cx="1703357" cy="562359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685800">
              <a:spcAft>
                <a:spcPts val="450"/>
              </a:spcAft>
            </a:pPr>
            <a:r>
              <a:rPr lang="it-IT" dirty="0">
                <a:solidFill>
                  <a:srgbClr val="595959"/>
                </a:solidFill>
                <a:uFillTx/>
                <a:ea typeface="Verdana" panose="020B0604030504040204" pitchFamily="34" charset="0"/>
                <a:cs typeface="Verdana" panose="020B0604030504040204" pitchFamily="34" charset="0"/>
              </a:rPr>
              <a:t>GDI, ridimensionamento </a:t>
            </a:r>
            <a:br>
              <a:rPr lang="it-IT" dirty="0">
                <a:solidFill>
                  <a:srgbClr val="595959"/>
                </a:solidFill>
                <a:uFillTx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it-IT" dirty="0">
                <a:solidFill>
                  <a:srgbClr val="595959"/>
                </a:solidFill>
                <a:uFillTx/>
                <a:ea typeface="Verdana" panose="020B0604030504040204" pitchFamily="34" charset="0"/>
                <a:cs typeface="Verdana" panose="020B0604030504040204" pitchFamily="34" charset="0"/>
              </a:rPr>
              <a:t>e turbo, EGR a raffreddamento, VVT-VVL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645DF5DF-C249-4952-A428-353480C374C4}"/>
              </a:ext>
            </a:extLst>
          </p:cNvPr>
          <p:cNvSpPr/>
          <p:nvPr/>
        </p:nvSpPr>
        <p:spPr bwMode="auto">
          <a:xfrm>
            <a:off x="5163977" y="5182716"/>
            <a:ext cx="378143" cy="231820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685800">
              <a:spcAft>
                <a:spcPts val="450"/>
              </a:spcAft>
            </a:pPr>
            <a:r>
              <a:rPr lang="it-IT" dirty="0">
                <a:solidFill>
                  <a:srgbClr val="595959"/>
                </a:solidFill>
                <a:uFillTx/>
                <a:ea typeface="Verdana" panose="020B0604030504040204" pitchFamily="34" charset="0"/>
                <a:cs typeface="Verdana" panose="020B0604030504040204" pitchFamily="34" charset="0"/>
              </a:rPr>
              <a:t>GPF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D9C09EFE-4CCA-4490-A0B3-E9FA0ECF115C}"/>
              </a:ext>
            </a:extLst>
          </p:cNvPr>
          <p:cNvSpPr/>
          <p:nvPr/>
        </p:nvSpPr>
        <p:spPr bwMode="auto">
          <a:xfrm>
            <a:off x="10951191" y="1695450"/>
            <a:ext cx="745510" cy="2616757"/>
          </a:xfrm>
          <a:prstGeom prst="rect">
            <a:avLst/>
          </a:prstGeom>
          <a:noFill/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54000" tIns="54000" rIns="54000" bIns="54000" rtlCol="0" anchor="ctr">
            <a:noAutofit/>
          </a:bodyPr>
          <a:lstStyle/>
          <a:p>
            <a:pPr algn="ctr">
              <a:spcAft>
                <a:spcPts val="450"/>
              </a:spcAft>
            </a:pPr>
            <a:endParaRPr lang="en-US" sz="1100" dirty="0" err="1">
              <a:solidFill>
                <a:schemeClr val="bg1"/>
              </a:solidFill>
              <a:ea typeface="ＭＳ Ｐゴシック" pitchFamily="1" charset="-128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61249686-733D-4F39-B92E-12DA49CD6A34}"/>
              </a:ext>
            </a:extLst>
          </p:cNvPr>
          <p:cNvSpPr/>
          <p:nvPr/>
        </p:nvSpPr>
        <p:spPr bwMode="auto">
          <a:xfrm>
            <a:off x="5991841" y="1828800"/>
            <a:ext cx="745510" cy="2483408"/>
          </a:xfrm>
          <a:prstGeom prst="rect">
            <a:avLst/>
          </a:prstGeom>
          <a:noFill/>
          <a:ln w="12700" cap="flat" cmpd="sng" algn="ctr">
            <a:solidFill>
              <a:srgbClr val="5CB33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54000" tIns="54000" rIns="54000" bIns="54000" rtlCol="0" anchor="ctr">
            <a:noAutofit/>
          </a:bodyPr>
          <a:lstStyle/>
          <a:p>
            <a:pPr algn="ctr">
              <a:spcAft>
                <a:spcPts val="450"/>
              </a:spcAft>
            </a:pPr>
            <a:endParaRPr lang="en-US" sz="1100" dirty="0" err="1">
              <a:solidFill>
                <a:schemeClr val="bg1"/>
              </a:solidFill>
              <a:ea typeface="ＭＳ Ｐゴシック" pitchFamily="1" charset="-128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669DDA3-AE07-42CF-8106-ABEE45C3F19A}"/>
              </a:ext>
            </a:extLst>
          </p:cNvPr>
          <p:cNvGrpSpPr/>
          <p:nvPr/>
        </p:nvGrpSpPr>
        <p:grpSpPr>
          <a:xfrm>
            <a:off x="2794785" y="5067606"/>
            <a:ext cx="1077824" cy="372328"/>
            <a:chOff x="2794785" y="5067606"/>
            <a:chExt cx="1077824" cy="372328"/>
          </a:xfrm>
        </p:grpSpPr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D693CB67-5F49-44DE-BD02-1CB403A28F7D}"/>
                </a:ext>
              </a:extLst>
            </p:cNvPr>
            <p:cNvSpPr/>
            <p:nvPr/>
          </p:nvSpPr>
          <p:spPr bwMode="auto">
            <a:xfrm>
              <a:off x="2794785" y="5208114"/>
              <a:ext cx="1077824" cy="23182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5CB33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Aft>
                  <a:spcPts val="450"/>
                </a:spcAft>
              </a:pPr>
              <a:r>
                <a:rPr lang="it-IT" dirty="0">
                  <a:solidFill>
                    <a:srgbClr val="595959"/>
                  </a:solidFill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Downspeeding</a:t>
              </a: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8B6FC955-17F3-4386-B339-A226DA647E85}"/>
                </a:ext>
              </a:extLst>
            </p:cNvPr>
            <p:cNvCxnSpPr>
              <a:stCxn id="99" idx="0"/>
              <a:endCxn id="83" idx="2"/>
            </p:cNvCxnSpPr>
            <p:nvPr/>
          </p:nvCxnSpPr>
          <p:spPr bwMode="gray">
            <a:xfrm flipV="1">
              <a:off x="3333697" y="5067606"/>
              <a:ext cx="0" cy="14050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5CB335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</p:grp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5D72467A-FE90-457F-B829-546D8EAB58CA}"/>
              </a:ext>
            </a:extLst>
          </p:cNvPr>
          <p:cNvCxnSpPr>
            <a:cxnSpLocks/>
            <a:stCxn id="98" idx="0"/>
            <a:endCxn id="82" idx="2"/>
          </p:cNvCxnSpPr>
          <p:nvPr/>
        </p:nvCxnSpPr>
        <p:spPr bwMode="gray">
          <a:xfrm flipV="1">
            <a:off x="2328714" y="5067606"/>
            <a:ext cx="1605" cy="42995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5CB335"/>
            </a:solidFill>
            <a:prstDash val="solid"/>
            <a:round/>
            <a:headEnd type="none" w="med" len="med"/>
            <a:tailEnd type="oval"/>
          </a:ln>
          <a:effectLst/>
        </p:spPr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CE940CA5-EE80-4225-BB49-11309A181AE5}"/>
              </a:ext>
            </a:extLst>
          </p:cNvPr>
          <p:cNvCxnSpPr>
            <a:cxnSpLocks/>
            <a:stCxn id="100" idx="0"/>
            <a:endCxn id="85" idx="2"/>
          </p:cNvCxnSpPr>
          <p:nvPr/>
        </p:nvCxnSpPr>
        <p:spPr bwMode="gray">
          <a:xfrm flipV="1">
            <a:off x="5353049" y="5067606"/>
            <a:ext cx="1" cy="11511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5CB335"/>
            </a:solidFill>
            <a:prstDash val="solid"/>
            <a:round/>
            <a:headEnd type="none" w="med" len="med"/>
            <a:tailEnd type="oval"/>
          </a:ln>
          <a:effectLst/>
        </p:spPr>
      </p:cxn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02B72513-A284-49F6-84FF-A750F10850D2}"/>
              </a:ext>
            </a:extLst>
          </p:cNvPr>
          <p:cNvGrpSpPr/>
          <p:nvPr/>
        </p:nvGrpSpPr>
        <p:grpSpPr>
          <a:xfrm>
            <a:off x="6476314" y="5067606"/>
            <a:ext cx="1707127" cy="858226"/>
            <a:chOff x="6476314" y="5067606"/>
            <a:chExt cx="1707127" cy="858226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F1E6FF1B-0308-4B77-9FE4-DCBC541E98AF}"/>
                </a:ext>
              </a:extLst>
            </p:cNvPr>
            <p:cNvSpPr/>
            <p:nvPr/>
          </p:nvSpPr>
          <p:spPr bwMode="auto">
            <a:xfrm>
              <a:off x="6476314" y="5392741"/>
              <a:ext cx="1707127" cy="533091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5CB33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Aft>
                  <a:spcPts val="450"/>
                </a:spcAft>
              </a:pPr>
              <a:r>
                <a:rPr lang="it-IT" dirty="0">
                  <a:solidFill>
                    <a:srgbClr val="595959"/>
                  </a:solidFill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Costo ca. $ 140-160/kWh per blocco batterie completo nel 2025</a:t>
              </a:r>
            </a:p>
          </p:txBody>
        </p: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1793C4B8-0476-42A8-96B3-08B436A3851D}"/>
                </a:ext>
              </a:extLst>
            </p:cNvPr>
            <p:cNvCxnSpPr>
              <a:cxnSpLocks/>
              <a:stCxn id="128" idx="0"/>
              <a:endCxn id="87" idx="2"/>
            </p:cNvCxnSpPr>
            <p:nvPr/>
          </p:nvCxnSpPr>
          <p:spPr bwMode="gray">
            <a:xfrm flipV="1">
              <a:off x="7329878" y="5067606"/>
              <a:ext cx="0" cy="325135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5CB335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0C572BCD-2445-4793-BC5C-33268BBE3795}"/>
              </a:ext>
            </a:extLst>
          </p:cNvPr>
          <p:cNvGrpSpPr/>
          <p:nvPr/>
        </p:nvGrpSpPr>
        <p:grpSpPr>
          <a:xfrm>
            <a:off x="8486089" y="5067606"/>
            <a:ext cx="1707127" cy="858226"/>
            <a:chOff x="6476314" y="5067606"/>
            <a:chExt cx="1707127" cy="858226"/>
          </a:xfrm>
        </p:grpSpPr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9465AC1C-BC5F-4EC8-B2EC-E371849D4388}"/>
                </a:ext>
              </a:extLst>
            </p:cNvPr>
            <p:cNvSpPr/>
            <p:nvPr/>
          </p:nvSpPr>
          <p:spPr bwMode="auto">
            <a:xfrm>
              <a:off x="6476314" y="5392741"/>
              <a:ext cx="1707127" cy="533091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5CB33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7000" tIns="27000" rIns="27000" bIns="27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spcAft>
                  <a:spcPts val="450"/>
                </a:spcAft>
              </a:pPr>
              <a:r>
                <a:rPr lang="it-IT" dirty="0">
                  <a:solidFill>
                    <a:srgbClr val="595959"/>
                  </a:solidFill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Economie di scala, standardizzazione e trasferimento</a:t>
              </a:r>
            </a:p>
          </p:txBody>
        </p: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2773C732-D74C-4DC6-B9D6-8157DBB945D9}"/>
                </a:ext>
              </a:extLst>
            </p:cNvPr>
            <p:cNvCxnSpPr>
              <a:cxnSpLocks/>
              <a:stCxn id="125" idx="0"/>
            </p:cNvCxnSpPr>
            <p:nvPr/>
          </p:nvCxnSpPr>
          <p:spPr bwMode="gray">
            <a:xfrm flipV="1">
              <a:off x="7329878" y="5067606"/>
              <a:ext cx="0" cy="325135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5CB335"/>
              </a:solidFill>
              <a:prstDash val="solid"/>
              <a:round/>
              <a:headEnd type="none" w="med" len="med"/>
              <a:tailEnd type="oval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6911746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171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4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1100" b="1" dirty="0">
              <a:solidFill>
                <a:schemeClr val="bg1"/>
              </a:solidFill>
              <a:latin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ntro il 2030, i veicoli elettrici (EV) e ibridi elettrici plug-in (PHEV) rappresenteranno oltre il 40% delle vendite di veicoli in Europ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68301" y="6164264"/>
            <a:ext cx="11448000" cy="171735"/>
          </a:xfrm>
        </p:spPr>
        <p:txBody>
          <a:bodyPr/>
          <a:lstStyle/>
          <a:p>
            <a:r>
              <a:rPr lang="it-IT" sz="1000" dirty="0"/>
              <a:t>Fonte: IHS, analisi e stime AlixPartners</a:t>
            </a:r>
          </a:p>
        </p:txBody>
      </p:sp>
      <p:sp>
        <p:nvSpPr>
          <p:cNvPr id="7" name="SubHeaderV">
            <a:extLst>
              <a:ext uri="{FF2B5EF4-FFF2-40B4-BE49-F238E27FC236}">
                <a16:creationId xmlns:a16="http://schemas.microsoft.com/office/drawing/2014/main" id="{D41F0FD8-4359-4A7A-B54C-A453B93F76CB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68301" y="1149627"/>
            <a:ext cx="11456987" cy="22328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r>
              <a:rPr lang="it-IT" dirty="0"/>
              <a:t>Prospettive di evoluzione dei volumi di automobile e veicoli commerciali leggeri, per tipo di powertrain [m unità]</a:t>
            </a:r>
          </a:p>
        </p:txBody>
      </p:sp>
      <p:sp>
        <p:nvSpPr>
          <p:cNvPr id="93" name="Flowchart: Off-page Connector 92">
            <a:extLst>
              <a:ext uri="{FF2B5EF4-FFF2-40B4-BE49-F238E27FC236}">
                <a16:creationId xmlns:a16="http://schemas.microsoft.com/office/drawing/2014/main" id="{875FEACE-763C-4BCD-A99A-B2EBF5F64788}"/>
              </a:ext>
            </a:extLst>
          </p:cNvPr>
          <p:cNvSpPr/>
          <p:nvPr/>
        </p:nvSpPr>
        <p:spPr bwMode="auto">
          <a:xfrm>
            <a:off x="10193206" y="1466944"/>
            <a:ext cx="744454" cy="520233"/>
          </a:xfrm>
          <a:prstGeom prst="flowChartOffpageConnector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27000" tIns="27000" rIns="27000" bIns="27000" rtlCol="0" anchor="ctr">
            <a:noAutofit/>
          </a:bodyPr>
          <a:lstStyle/>
          <a:p>
            <a:pPr algn="ctr">
              <a:spcAft>
                <a:spcPts val="450"/>
              </a:spcAft>
            </a:pPr>
            <a:r>
              <a:rPr lang="it-IT" sz="1100" b="1" dirty="0">
                <a:solidFill>
                  <a:schemeClr val="bg1"/>
                </a:solidFill>
                <a:ea typeface="ＭＳ Ｐゴシック" pitchFamily="1" charset="-128"/>
              </a:rPr>
              <a:t>CAGR 2016-20</a:t>
            </a:r>
          </a:p>
        </p:txBody>
      </p:sp>
      <p:sp>
        <p:nvSpPr>
          <p:cNvPr id="94" name="Flowchart: Off-page Connector 93">
            <a:extLst>
              <a:ext uri="{FF2B5EF4-FFF2-40B4-BE49-F238E27FC236}">
                <a16:creationId xmlns:a16="http://schemas.microsoft.com/office/drawing/2014/main" id="{95D5E402-4EF3-4BFD-839E-C7FDB3C3CEFB}"/>
              </a:ext>
            </a:extLst>
          </p:cNvPr>
          <p:cNvSpPr/>
          <p:nvPr/>
        </p:nvSpPr>
        <p:spPr bwMode="auto">
          <a:xfrm>
            <a:off x="11071847" y="1466944"/>
            <a:ext cx="744454" cy="520233"/>
          </a:xfrm>
          <a:prstGeom prst="flowChartOffpageConnector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27000" tIns="27000" rIns="27000" bIns="27000" rtlCol="0" anchor="ctr">
            <a:noAutofit/>
          </a:bodyPr>
          <a:lstStyle/>
          <a:p>
            <a:pPr algn="ctr">
              <a:spcAft>
                <a:spcPts val="450"/>
              </a:spcAft>
            </a:pPr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CAGR 2020-30</a:t>
            </a: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69C2769E-4FA5-4495-9E00-C2216690F0A8}"/>
              </a:ext>
            </a:extLst>
          </p:cNvPr>
          <p:cNvSpPr>
            <a:spLocks/>
          </p:cNvSpPr>
          <p:nvPr/>
        </p:nvSpPr>
        <p:spPr bwMode="auto">
          <a:xfrm>
            <a:off x="11084546" y="2433477"/>
            <a:ext cx="707231" cy="372227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35%</a:t>
            </a: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67898FC1-4069-4380-91B1-99CA540FEAF5}"/>
              </a:ext>
            </a:extLst>
          </p:cNvPr>
          <p:cNvSpPr>
            <a:spLocks/>
          </p:cNvSpPr>
          <p:nvPr/>
        </p:nvSpPr>
        <p:spPr bwMode="auto">
          <a:xfrm>
            <a:off x="10205905" y="2433477"/>
            <a:ext cx="707231" cy="372227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dirty="0">
                <a:solidFill>
                  <a:schemeClr val="bg1"/>
                </a:solidFill>
                <a:ea typeface="ＭＳ Ｐゴシック" pitchFamily="1" charset="-128"/>
              </a:rPr>
              <a:t>21%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309D9EC3-564F-4537-B82F-DAF0C0476D6F}"/>
              </a:ext>
            </a:extLst>
          </p:cNvPr>
          <p:cNvSpPr>
            <a:spLocks/>
          </p:cNvSpPr>
          <p:nvPr/>
        </p:nvSpPr>
        <p:spPr bwMode="auto">
          <a:xfrm>
            <a:off x="11071847" y="3279399"/>
            <a:ext cx="707231" cy="372227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35%</a:t>
            </a: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23662246-BC30-44D5-B498-D8D03AB5C85F}"/>
              </a:ext>
            </a:extLst>
          </p:cNvPr>
          <p:cNvSpPr>
            <a:spLocks/>
          </p:cNvSpPr>
          <p:nvPr/>
        </p:nvSpPr>
        <p:spPr bwMode="auto">
          <a:xfrm>
            <a:off x="10193206" y="3279399"/>
            <a:ext cx="707231" cy="372227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>
                <a:solidFill>
                  <a:schemeClr val="bg1"/>
                </a:solidFill>
                <a:ea typeface="ＭＳ Ｐゴシック" pitchFamily="1" charset="-128"/>
              </a:rPr>
              <a:t>29%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5F1621BA-796D-4DBA-B886-25FE44C80B3F}"/>
              </a:ext>
            </a:extLst>
          </p:cNvPr>
          <p:cNvSpPr>
            <a:spLocks/>
          </p:cNvSpPr>
          <p:nvPr/>
        </p:nvSpPr>
        <p:spPr bwMode="auto">
          <a:xfrm>
            <a:off x="11084546" y="4079834"/>
            <a:ext cx="707231" cy="372227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8.2%</a:t>
            </a: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32F42BAC-D30C-4AD8-9CCD-56841DED2C3A}"/>
              </a:ext>
            </a:extLst>
          </p:cNvPr>
          <p:cNvSpPr>
            <a:spLocks/>
          </p:cNvSpPr>
          <p:nvPr/>
        </p:nvSpPr>
        <p:spPr bwMode="auto">
          <a:xfrm>
            <a:off x="10205905" y="4079834"/>
            <a:ext cx="707231" cy="372227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>
                <a:solidFill>
                  <a:schemeClr val="bg1"/>
                </a:solidFill>
                <a:ea typeface="ＭＳ Ｐゴシック" pitchFamily="1" charset="-128"/>
              </a:rPr>
              <a:t>48%</a:t>
            </a: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C6E3564C-D78E-4D31-9E53-2AB33C92DC2C}"/>
              </a:ext>
            </a:extLst>
          </p:cNvPr>
          <p:cNvSpPr>
            <a:spLocks/>
          </p:cNvSpPr>
          <p:nvPr/>
        </p:nvSpPr>
        <p:spPr bwMode="auto">
          <a:xfrm>
            <a:off x="11084546" y="4849436"/>
            <a:ext cx="707231" cy="372227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-5.2%</a:t>
            </a: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B305DFFA-31CA-43F7-9A90-6BB829623A89}"/>
              </a:ext>
            </a:extLst>
          </p:cNvPr>
          <p:cNvSpPr>
            <a:spLocks/>
          </p:cNvSpPr>
          <p:nvPr/>
        </p:nvSpPr>
        <p:spPr bwMode="auto">
          <a:xfrm>
            <a:off x="10205905" y="4849436"/>
            <a:ext cx="707231" cy="372227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dirty="0">
                <a:solidFill>
                  <a:schemeClr val="bg1"/>
                </a:solidFill>
                <a:ea typeface="ＭＳ Ｐゴシック" pitchFamily="1" charset="-128"/>
              </a:rPr>
              <a:t>2.7%</a:t>
            </a: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4F720AE1-FBB9-4675-900D-7CBAF4C1D30E}"/>
              </a:ext>
            </a:extLst>
          </p:cNvPr>
          <p:cNvSpPr>
            <a:spLocks/>
          </p:cNvSpPr>
          <p:nvPr/>
        </p:nvSpPr>
        <p:spPr bwMode="auto">
          <a:xfrm>
            <a:off x="11084546" y="5423596"/>
            <a:ext cx="707231" cy="372227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-14%</a:t>
            </a: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CBA56752-C23D-40A3-8CFB-2539B9203ED5}"/>
              </a:ext>
            </a:extLst>
          </p:cNvPr>
          <p:cNvSpPr>
            <a:spLocks/>
          </p:cNvSpPr>
          <p:nvPr/>
        </p:nvSpPr>
        <p:spPr bwMode="auto">
          <a:xfrm>
            <a:off x="10205905" y="5423596"/>
            <a:ext cx="707231" cy="372227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>
                <a:solidFill>
                  <a:schemeClr val="bg1"/>
                </a:solidFill>
                <a:ea typeface="ＭＳ Ｐゴシック" pitchFamily="1" charset="-128"/>
              </a:rPr>
              <a:t>-2.3%</a:t>
            </a: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413E4E1E-BB39-4501-9DB6-3194EBCB5C3E}"/>
              </a:ext>
            </a:extLst>
          </p:cNvPr>
          <p:cNvSpPr>
            <a:spLocks/>
          </p:cNvSpPr>
          <p:nvPr/>
        </p:nvSpPr>
        <p:spPr bwMode="auto">
          <a:xfrm>
            <a:off x="11084546" y="2005322"/>
            <a:ext cx="707231" cy="372227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b="1">
                <a:solidFill>
                  <a:schemeClr val="bg1"/>
                </a:solidFill>
                <a:ea typeface="ＭＳ Ｐゴシック" pitchFamily="1" charset="-128"/>
              </a:rPr>
              <a:t>1.0%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795AEAAE-39D1-45D7-B674-E0CBEF790826}"/>
              </a:ext>
            </a:extLst>
          </p:cNvPr>
          <p:cNvSpPr>
            <a:spLocks/>
          </p:cNvSpPr>
          <p:nvPr/>
        </p:nvSpPr>
        <p:spPr bwMode="auto">
          <a:xfrm>
            <a:off x="10205905" y="2005322"/>
            <a:ext cx="707231" cy="372227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27000" tIns="27000" rIns="27000" bIns="27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100" dirty="0">
                <a:solidFill>
                  <a:schemeClr val="bg1"/>
                </a:solidFill>
                <a:ea typeface="ＭＳ Ｐゴシック" pitchFamily="1" charset="-128"/>
              </a:rPr>
              <a:t>2.2%</a:t>
            </a:r>
          </a:p>
        </p:txBody>
      </p:sp>
      <p:graphicFrame>
        <p:nvGraphicFramePr>
          <p:cNvPr id="117" name="Object 116">
            <a:extLst>
              <a:ext uri="{FF2B5EF4-FFF2-40B4-BE49-F238E27FC236}">
                <a16:creationId xmlns:a16="http://schemas.microsoft.com/office/drawing/2014/main" id="{338F579C-4252-4223-8D02-A616EF3119A7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43559058"/>
              </p:ext>
            </p:extLst>
          </p:nvPr>
        </p:nvGraphicFramePr>
        <p:xfrm>
          <a:off x="419100" y="2133600"/>
          <a:ext cx="8924922" cy="37527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5" name="Chart" r:id="rId38" imgW="8924922" imgH="3752730" progId="MSGraph.Chart.8">
                  <p:embed followColorScheme="full"/>
                </p:oleObj>
              </mc:Choice>
              <mc:Fallback>
                <p:oleObj name="Chart" r:id="rId38" imgW="8924922" imgH="3752730" progId="MSGraph.Chart.8">
                  <p:embed followColorScheme="full"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419100" y="2133600"/>
                        <a:ext cx="8924922" cy="37527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8" name="Main Content">
            <a:extLst>
              <a:ext uri="{FF2B5EF4-FFF2-40B4-BE49-F238E27FC236}">
                <a16:creationId xmlns:a16="http://schemas.microsoft.com/office/drawing/2014/main" id="{80D5E27A-5248-4AB3-8CF0-8EFE9185CF3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943975" y="5535613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386543C-77D2-4D66-BF23-0C4334F3D089}" type="datetime'''''''''''''2''''''''''''''''''''''''''.''''''''''''''''''1'''">
              <a:rPr lang="it-IT" altLang="en-US" sz="1100">
                <a:solidFill>
                  <a:schemeClr val="bg1"/>
                </a:solidFill>
              </a:rPr>
              <a:pPr/>
              <a:t>2.1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9" name="Main Content">
            <a:extLst>
              <a:ext uri="{FF2B5EF4-FFF2-40B4-BE49-F238E27FC236}">
                <a16:creationId xmlns:a16="http://schemas.microsoft.com/office/drawing/2014/main" id="{A20582A1-26EE-4933-A120-CB8261BC4E4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943975" y="4954588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CD352AA-584E-45FB-ACED-09C2DF06DA08}" type="datetime'''5''''''''''''''''''''''''''.9'''''''''''''''''''''''">
              <a:rPr lang="it-IT" altLang="en-US" sz="1100">
                <a:solidFill>
                  <a:schemeClr val="bg1"/>
                </a:solidFill>
              </a:rPr>
              <a:pPr/>
              <a:t>5.9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0" name="Main Content">
            <a:extLst>
              <a:ext uri="{FF2B5EF4-FFF2-40B4-BE49-F238E27FC236}">
                <a16:creationId xmlns:a16="http://schemas.microsoft.com/office/drawing/2014/main" id="{3A5834A8-C8C7-4CB3-BBC4-712BB16BD9E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943975" y="4202113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696A6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3EF3C13-971C-42C5-9988-1C257A54058C}" type="datetime'''''4''.4'''''''''''''''''''''''''''''''''''''''''''''''''">
              <a:rPr lang="it-IT" altLang="en-US" sz="1100">
                <a:solidFill>
                  <a:schemeClr val="bg1"/>
                </a:solidFill>
              </a:rPr>
              <a:pPr/>
              <a:t>4.4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1" name="Main Content">
            <a:extLst>
              <a:ext uri="{FF2B5EF4-FFF2-40B4-BE49-F238E27FC236}">
                <a16:creationId xmlns:a16="http://schemas.microsoft.com/office/drawing/2014/main" id="{D9BC26DE-04FB-48EB-AF74-D4C20FB5C07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943975" y="3397250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6176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948E101-670D-47F9-B682-779247F21902}" type="datetime'6''''.''''''''''''''''''''''6'''''''''''''''">
              <a:rPr lang="it-IT" altLang="en-US" sz="1100">
                <a:solidFill>
                  <a:schemeClr val="bg1"/>
                </a:solidFill>
              </a:rPr>
              <a:pPr/>
              <a:t>6.6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2" name="Main Content">
            <a:extLst>
              <a:ext uri="{FF2B5EF4-FFF2-40B4-BE49-F238E27FC236}">
                <a16:creationId xmlns:a16="http://schemas.microsoft.com/office/drawing/2014/main" id="{FC502049-A7C4-4562-A2CE-B159AB21C76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943975" y="2549525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CA505AA-1DFD-448F-989F-8CDF2329BA04}" type="datetime'''''''''''''''''''''''''5''''.''''''0'''''''''">
              <a:rPr lang="it-IT" altLang="en-US" sz="1100">
                <a:solidFill>
                  <a:schemeClr val="bg1"/>
                </a:solidFill>
              </a:rPr>
              <a:pPr/>
              <a:t>5.0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3" name="Main Content">
            <a:extLst>
              <a:ext uri="{FF2B5EF4-FFF2-40B4-BE49-F238E27FC236}">
                <a16:creationId xmlns:a16="http://schemas.microsoft.com/office/drawing/2014/main" id="{3CD9F184-2D1D-4218-995A-EBC8690AE71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905500" y="5853113"/>
            <a:ext cx="4572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7F8D94F-2407-4691-AE60-9B3660D862AC}" type="datetime'''''''20''''2''''''''''5''''''E'''''">
              <a:rPr lang="it-IT" altLang="en-US" sz="1100"/>
              <a:pPr/>
              <a:t>2025E</a:t>
            </a:fld>
            <a:endParaRPr lang="it-IT" sz="1100" noProof="0" dirty="0">
              <a:sym typeface="+mn-lt"/>
            </a:endParaRPr>
          </a:p>
        </p:txBody>
      </p:sp>
      <p:sp>
        <p:nvSpPr>
          <p:cNvPr id="124" name="Main Content">
            <a:extLst>
              <a:ext uri="{FF2B5EF4-FFF2-40B4-BE49-F238E27FC236}">
                <a16:creationId xmlns:a16="http://schemas.microsoft.com/office/drawing/2014/main" id="{7C832D57-0EFE-439E-B533-B8C4BD69246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938838" y="2271713"/>
            <a:ext cx="39211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5205EF9-3760-4393-9F4D-F2909AE155CD}" type="datetime'''''''''''''''''''''''''''''''''''2''2''''''''.7'''''''">
              <a:rPr lang="it-IT" altLang="en-US" sz="1100" b="1"/>
              <a:pPr/>
              <a:t>22.7</a:t>
            </a:fld>
            <a:endParaRPr lang="it-IT" sz="1100" b="1" noProof="0" dirty="0">
              <a:sym typeface="+mn-lt"/>
            </a:endParaRPr>
          </a:p>
        </p:txBody>
      </p:sp>
      <p:sp>
        <p:nvSpPr>
          <p:cNvPr id="125" name="Main Content">
            <a:extLst>
              <a:ext uri="{FF2B5EF4-FFF2-40B4-BE49-F238E27FC236}">
                <a16:creationId xmlns:a16="http://schemas.microsoft.com/office/drawing/2014/main" id="{CC1E6018-3254-48A8-A996-7CBD001B9B9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999163" y="5211763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43A216-AB40-4432-965E-F6DAF143FD22}" type="datetime'''''''''''''''''''''''''''6''''''.''6'''''''''''''''''''">
              <a:rPr lang="it-IT" altLang="en-US" sz="1100">
                <a:solidFill>
                  <a:schemeClr val="bg1"/>
                </a:solidFill>
              </a:rPr>
              <a:pPr/>
              <a:t>6.6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6" name="Main Content">
            <a:extLst>
              <a:ext uri="{FF2B5EF4-FFF2-40B4-BE49-F238E27FC236}">
                <a16:creationId xmlns:a16="http://schemas.microsoft.com/office/drawing/2014/main" id="{E551CF0C-A74D-4CE4-811C-3EBBE89A3D3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999163" y="4164013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55B4B2A-2AA8-41BD-830F-1CEDD8569DF9}" type="datetime'''''''7''''''''''''''''''''''''''''.''''''''''8'">
              <a:rPr lang="it-IT" altLang="en-US" sz="1100">
                <a:solidFill>
                  <a:schemeClr val="bg1"/>
                </a:solidFill>
              </a:rPr>
              <a:pPr/>
              <a:t>7.8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9" name="Main Content">
            <a:extLst>
              <a:ext uri="{FF2B5EF4-FFF2-40B4-BE49-F238E27FC236}">
                <a16:creationId xmlns:a16="http://schemas.microsoft.com/office/drawing/2014/main" id="{1F64B416-B219-4D90-8623-DC43898A025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999163" y="3340100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80C4C66-AE15-4318-9AC5-CB36A55BE783}" type="datetime'''3''''''''''.''''4'''''''''''''''''''''''''">
              <a:rPr lang="it-IT" altLang="en-US" sz="1100">
                <a:solidFill>
                  <a:schemeClr val="bg1"/>
                </a:solidFill>
              </a:rPr>
              <a:pPr/>
              <a:t>3.4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0" name="Main Content">
            <a:extLst>
              <a:ext uri="{FF2B5EF4-FFF2-40B4-BE49-F238E27FC236}">
                <a16:creationId xmlns:a16="http://schemas.microsoft.com/office/drawing/2014/main" id="{3D237E59-123A-475C-A9CB-7622EF8F648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999163" y="2873375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6176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676446D-FA81-466D-8CCA-E4179C625900}" type="datetime'''''''''''''''''''''''''''''''''''''''''''''2''''.''''''9'''''">
              <a:rPr lang="it-IT" altLang="en-US" sz="1100">
                <a:solidFill>
                  <a:schemeClr val="bg1"/>
                </a:solidFill>
              </a:rPr>
              <a:pPr/>
              <a:t>2.9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1" name="Main Content">
            <a:extLst>
              <a:ext uri="{FF2B5EF4-FFF2-40B4-BE49-F238E27FC236}">
                <a16:creationId xmlns:a16="http://schemas.microsoft.com/office/drawing/2014/main" id="{E6B58F6B-ED2C-4D59-8DEB-7C25B2433D0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790825" y="5853113"/>
            <a:ext cx="4572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B98F218-4575-4049-8E0E-2472DD41D420}" type="datetime'''2''''''0''''''''2''0''''E'''''''''''''''">
              <a:rPr lang="it-IT" altLang="en-US" sz="1100"/>
              <a:pPr/>
              <a:t>2020E</a:t>
            </a:fld>
            <a:endParaRPr lang="it-IT" sz="1100" noProof="0" dirty="0">
              <a:sym typeface="+mn-lt"/>
            </a:endParaRPr>
          </a:p>
        </p:txBody>
      </p:sp>
      <p:sp>
        <p:nvSpPr>
          <p:cNvPr id="133" name="Main Content">
            <a:extLst>
              <a:ext uri="{FF2B5EF4-FFF2-40B4-BE49-F238E27FC236}">
                <a16:creationId xmlns:a16="http://schemas.microsoft.com/office/drawing/2014/main" id="{018C91C2-8D92-46C2-A22C-5E42B724493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897188" y="2393950"/>
            <a:ext cx="39211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0A0ABE-DDB8-4415-8883-D689E98A8CBC}" type="datetime'''''2''''''''''''''''1''.6'''''''''''''''''''''''''''''''''">
              <a:rPr lang="it-IT" altLang="en-US" sz="1100" b="1"/>
              <a:pPr/>
              <a:t>21.6</a:t>
            </a:fld>
            <a:endParaRPr lang="it-IT" sz="1100" b="1" noProof="0" dirty="0">
              <a:sym typeface="+mn-lt"/>
            </a:endParaRPr>
          </a:p>
        </p:txBody>
      </p:sp>
      <p:sp>
        <p:nvSpPr>
          <p:cNvPr id="135" name="Main Content">
            <a:extLst>
              <a:ext uri="{FF2B5EF4-FFF2-40B4-BE49-F238E27FC236}">
                <a16:creationId xmlns:a16="http://schemas.microsoft.com/office/drawing/2014/main" id="{88345836-726C-49E8-98BA-40D7C50DECA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884488" y="5035550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EA628FB-780E-4C6A-A926-4DD1690DA3B1}" type="datetime'''''''''9''''''''.''''''''''''''''0'''''''''">
              <a:rPr lang="it-IT" altLang="en-US" sz="1100">
                <a:solidFill>
                  <a:schemeClr val="bg1"/>
                </a:solidFill>
              </a:rPr>
              <a:pPr/>
              <a:t>9.0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7" name="Main Content">
            <a:extLst>
              <a:ext uri="{FF2B5EF4-FFF2-40B4-BE49-F238E27FC236}">
                <a16:creationId xmlns:a16="http://schemas.microsoft.com/office/drawing/2014/main" id="{8C76E08D-D943-457B-9685-BCCDF49CA80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840038" y="3644900"/>
            <a:ext cx="3587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141CEB-F699-4122-A009-0C61F906BD6D}" type="datetime'''''''''''''''''''''''1''''''0''''''''''''''.''1'''''">
              <a:rPr lang="it-IT" altLang="en-US" sz="1100">
                <a:solidFill>
                  <a:schemeClr val="bg1"/>
                </a:solidFill>
              </a:rPr>
              <a:pPr/>
              <a:t>10.1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8" name="Main Content">
            <a:extLst>
              <a:ext uri="{FF2B5EF4-FFF2-40B4-BE49-F238E27FC236}">
                <a16:creationId xmlns:a16="http://schemas.microsoft.com/office/drawing/2014/main" id="{7436EEBD-8FD1-4BAC-8D80-D6CE08A2293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884488" y="2763838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696A6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DB45AE0-43A2-4D13-A645-CB6F9EADA89E}" type="datetime'''''''2''''''''.''''''''''''''''0'''''''''''''''''''''''''''">
              <a:rPr lang="it-IT" altLang="en-US" sz="1100">
                <a:solidFill>
                  <a:schemeClr val="bg1"/>
                </a:solidFill>
              </a:rPr>
              <a:pPr/>
              <a:t>2.0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9" name="Main Content">
            <a:extLst>
              <a:ext uri="{FF2B5EF4-FFF2-40B4-BE49-F238E27FC236}">
                <a16:creationId xmlns:a16="http://schemas.microsoft.com/office/drawing/2014/main" id="{C98BF7EF-2615-42E9-8C99-628175C9999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108325" y="2703513"/>
            <a:ext cx="269875" cy="168275"/>
          </a:xfrm>
          <a:prstGeom prst="rect">
            <a:avLst/>
          </a:prstGeom>
          <a:solidFill>
            <a:srgbClr val="006176"/>
          </a:solidFill>
        </p:spPr>
        <p:txBody>
          <a:bodyPr vert="horz" wrap="none" lIns="20638" tIns="0" rIns="20638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52D93DB-2A3F-44F6-9616-BF8BE3075B24}" type="datetime'''0''''''''''''''''''''''.''''''''3'''''''''">
              <a:rPr lang="it-IT" altLang="en-US" sz="1100">
                <a:solidFill>
                  <a:schemeClr val="bg1"/>
                </a:solidFill>
              </a:rPr>
              <a:pPr/>
              <a:t>0.3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0" name="Main Content">
            <a:extLst>
              <a:ext uri="{FF2B5EF4-FFF2-40B4-BE49-F238E27FC236}">
                <a16:creationId xmlns:a16="http://schemas.microsoft.com/office/drawing/2014/main" id="{910DC35D-8949-4CD7-9201-138BC9464BE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49250" y="5853113"/>
            <a:ext cx="3683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B32943D-9D32-4E88-B444-1ECF60900997}" type="datetime'''''''''20''''16'''''''''''''''''''''''''''''''''''''''''''">
              <a:rPr lang="it-IT" altLang="en-US" sz="1100"/>
              <a:pPr/>
              <a:t>2016</a:t>
            </a:fld>
            <a:endParaRPr lang="it-IT" sz="1100" noProof="0" dirty="0">
              <a:sym typeface="+mn-lt"/>
            </a:endParaRPr>
          </a:p>
        </p:txBody>
      </p:sp>
      <p:sp>
        <p:nvSpPr>
          <p:cNvPr id="141" name="Main Content">
            <a:extLst>
              <a:ext uri="{FF2B5EF4-FFF2-40B4-BE49-F238E27FC236}">
                <a16:creationId xmlns:a16="http://schemas.microsoft.com/office/drawing/2014/main" id="{E42363DE-D578-4CC4-B586-A81E37E56F3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38138" y="2690813"/>
            <a:ext cx="39211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7B8F2EE-BCF8-4758-91CD-65D271CE0BAF}" type="datetime'''''''''''1''''''''''''''''''''''''9''''''''''''''''''.''8'">
              <a:rPr lang="it-IT" altLang="en-US" sz="1100" b="1"/>
              <a:pPr/>
              <a:t>19.8</a:t>
            </a:fld>
            <a:endParaRPr lang="it-IT" sz="1100" b="1" noProof="0" dirty="0">
              <a:sym typeface="+mn-lt"/>
            </a:endParaRPr>
          </a:p>
        </p:txBody>
      </p:sp>
      <p:sp>
        <p:nvSpPr>
          <p:cNvPr id="142" name="Main Content">
            <a:extLst>
              <a:ext uri="{FF2B5EF4-FFF2-40B4-BE49-F238E27FC236}">
                <a16:creationId xmlns:a16="http://schemas.microsoft.com/office/drawing/2014/main" id="{BC2D10B9-2F9B-43A6-848E-224051DFBEF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68325" y="4930775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F470876-F144-4AB6-A8E1-A51E1CB84460}" type="datetime'''''9''''''''''.8'''''''''''''''''''''''''''">
              <a:rPr lang="it-IT" altLang="en-US" sz="1100">
                <a:solidFill>
                  <a:schemeClr val="bg1"/>
                </a:solidFill>
              </a:rPr>
              <a:pPr/>
              <a:t>9.8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3" name="Main Content">
            <a:extLst>
              <a:ext uri="{FF2B5EF4-FFF2-40B4-BE49-F238E27FC236}">
                <a16:creationId xmlns:a16="http://schemas.microsoft.com/office/drawing/2014/main" id="{03F01925-7290-4F77-888C-828EE8D9AD3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68325" y="3549650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D2C571C-1483-4D1E-9F3C-ACB149C172E0}" type="datetime'''9''.''''''''''1'''''''''''''''">
              <a:rPr lang="it-IT" altLang="en-US" sz="1100">
                <a:solidFill>
                  <a:schemeClr val="bg1"/>
                </a:solidFill>
              </a:rPr>
              <a:pPr/>
              <a:t>9.1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4" name="Main Content">
            <a:extLst>
              <a:ext uri="{FF2B5EF4-FFF2-40B4-BE49-F238E27FC236}">
                <a16:creationId xmlns:a16="http://schemas.microsoft.com/office/drawing/2014/main" id="{7334BFD3-27F6-499B-A1AB-0108CCB1CF1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999163" y="2516188"/>
            <a:ext cx="2698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3B2D563-5A51-4792-A446-298A01D43552}" type="datetime'1''''''''.''''''''''''''''''''''''''''''''''''''''''''''''9'">
              <a:rPr lang="it-IT" altLang="en-US" sz="1100">
                <a:solidFill>
                  <a:schemeClr val="bg1"/>
                </a:solidFill>
              </a:rPr>
              <a:pPr/>
              <a:t>1.9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5" name="Main Content">
            <a:extLst>
              <a:ext uri="{FF2B5EF4-FFF2-40B4-BE49-F238E27FC236}">
                <a16:creationId xmlns:a16="http://schemas.microsoft.com/office/drawing/2014/main" id="{86B53246-9CA5-4431-8893-AFE36B4BE61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884488" y="2554288"/>
            <a:ext cx="269875" cy="168275"/>
          </a:xfrm>
          <a:prstGeom prst="rect">
            <a:avLst/>
          </a:prstGeom>
          <a:solidFill>
            <a:srgbClr val="032E45"/>
          </a:solidFill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D7761AD-637D-465F-B866-03E3DDCCBB19}" type="datetime'''''''''''''''''''0''''''''''''''''''.''''''''''''''''''3'">
              <a:rPr lang="it-IT" altLang="en-US" sz="1100">
                <a:solidFill>
                  <a:schemeClr val="bg1"/>
                </a:solidFill>
              </a:rPr>
              <a:pPr/>
              <a:t>0.3</a:t>
            </a:fld>
            <a:endParaRPr lang="it-IT" sz="11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6" name="Main Content">
            <a:extLst>
              <a:ext uri="{FF2B5EF4-FFF2-40B4-BE49-F238E27FC236}">
                <a16:creationId xmlns:a16="http://schemas.microsoft.com/office/drawing/2014/main" id="{94E099F2-D7E5-4C7F-94F2-64C999FD7C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053513" y="2081213"/>
            <a:ext cx="39211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9EC16C4-8194-40D9-B28B-056A58FF7C34}" type="datetime'''2''''''4''''''''''''.''''''''''''''''''''''''''''''0'''">
              <a:rPr lang="it-IT" altLang="en-US" sz="1100" b="1"/>
              <a:pPr/>
              <a:t>24.0</a:t>
            </a:fld>
            <a:endParaRPr lang="it-IT" sz="1100" b="1" noProof="0" dirty="0">
              <a:sym typeface="+mn-lt"/>
            </a:endParaRPr>
          </a:p>
        </p:txBody>
      </p:sp>
      <p:sp>
        <p:nvSpPr>
          <p:cNvPr id="147" name="Main Content">
            <a:extLst>
              <a:ext uri="{FF2B5EF4-FFF2-40B4-BE49-F238E27FC236}">
                <a16:creationId xmlns:a16="http://schemas.microsoft.com/office/drawing/2014/main" id="{A95E8F2F-DAA5-4E87-A641-981264A2840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359900" y="5527675"/>
            <a:ext cx="4222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D503934-2172-4843-935B-798871106B45}" type="datetime'''''''''''''''''''Di''''''''e''''''''s''''e''l'''''''''''''">
              <a:rPr lang="it-IT" altLang="en-US" sz="1100"/>
              <a:pPr/>
              <a:t>Diesel</a:t>
            </a:fld>
            <a:endParaRPr lang="it-IT" sz="1100" noProof="0" dirty="0">
              <a:sym typeface="+mn-lt"/>
            </a:endParaRPr>
          </a:p>
        </p:txBody>
      </p:sp>
      <p:sp>
        <p:nvSpPr>
          <p:cNvPr id="148" name="Main Content">
            <a:extLst>
              <a:ext uri="{FF2B5EF4-FFF2-40B4-BE49-F238E27FC236}">
                <a16:creationId xmlns:a16="http://schemas.microsoft.com/office/drawing/2014/main" id="{F8C50671-2D4B-4CC5-A138-441EEEB407F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359900" y="4202113"/>
            <a:ext cx="3698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/>
              <a:t>Ibridi</a:t>
            </a:r>
            <a:endParaRPr lang="it-IT" sz="1100" noProof="0" dirty="0">
              <a:sym typeface="+mn-lt"/>
            </a:endParaRPr>
          </a:p>
        </p:txBody>
      </p:sp>
      <p:sp>
        <p:nvSpPr>
          <p:cNvPr id="150" name="Main Content">
            <a:extLst>
              <a:ext uri="{FF2B5EF4-FFF2-40B4-BE49-F238E27FC236}">
                <a16:creationId xmlns:a16="http://schemas.microsoft.com/office/drawing/2014/main" id="{2A24EBF4-5475-4AC7-8914-4EE7B95A61A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359900" y="3397250"/>
            <a:ext cx="3730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511D7D9-6491-4FD2-AC5C-9C05610E0FC5}" type="datetime'''''''P''''H''E''''''''''''''''''''V'''''''''''''''">
              <a:rPr lang="it-IT" altLang="en-US" sz="1100"/>
              <a:pPr/>
              <a:t>PHEV</a:t>
            </a:fld>
            <a:endParaRPr lang="it-IT" sz="1100" noProof="0" dirty="0">
              <a:sym typeface="+mn-lt"/>
            </a:endParaRPr>
          </a:p>
        </p:txBody>
      </p:sp>
      <p:sp>
        <p:nvSpPr>
          <p:cNvPr id="151" name="Main Content">
            <a:extLst>
              <a:ext uri="{FF2B5EF4-FFF2-40B4-BE49-F238E27FC236}">
                <a16:creationId xmlns:a16="http://schemas.microsoft.com/office/drawing/2014/main" id="{8A715674-9324-40EB-8320-27F1213000C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359900" y="2549525"/>
            <a:ext cx="18415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1BED873-AEA4-4358-A55F-3A3DAF8B7C5D}" type="datetime'E''''''''''''''''V'''''''''''''''''''''''''''''''''''''''">
              <a:rPr lang="it-IT" altLang="en-US" sz="1100"/>
              <a:pPr/>
              <a:t>EV</a:t>
            </a:fld>
            <a:endParaRPr lang="it-IT" sz="1100" noProof="0" dirty="0">
              <a:sym typeface="+mn-lt"/>
            </a:endParaRPr>
          </a:p>
        </p:txBody>
      </p:sp>
      <p:sp>
        <p:nvSpPr>
          <p:cNvPr id="153" name="Main Content">
            <a:extLst>
              <a:ext uri="{FF2B5EF4-FFF2-40B4-BE49-F238E27FC236}">
                <a16:creationId xmlns:a16="http://schemas.microsoft.com/office/drawing/2014/main" id="{F07E0BB9-2D0F-4F2F-BD19-702158F5D8D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020175" y="5853113"/>
            <a:ext cx="457200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6425E54-3696-44B4-A37E-7BD30F98E46E}" type="datetime'''''''''''''''''''2''''''''''0''''''''''3''''0E'''">
              <a:rPr lang="it-IT" altLang="en-US" sz="1100"/>
              <a:pPr/>
              <a:t>2030E</a:t>
            </a:fld>
            <a:endParaRPr lang="it-IT" sz="1100" noProof="0" dirty="0">
              <a:sym typeface="+mn-lt"/>
            </a:endParaRPr>
          </a:p>
        </p:txBody>
      </p:sp>
      <p:sp>
        <p:nvSpPr>
          <p:cNvPr id="154" name="Main Content">
            <a:extLst>
              <a:ext uri="{FF2B5EF4-FFF2-40B4-BE49-F238E27FC236}">
                <a16:creationId xmlns:a16="http://schemas.microsoft.com/office/drawing/2014/main" id="{3E7A892C-8DF4-4777-998C-80492C99DBB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359900" y="4954588"/>
            <a:ext cx="5508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1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18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F0502020204030204" pitchFamily="34" charset="0"/>
              <a:buChar char="−"/>
              <a:defRPr sz="1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9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6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0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2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-IT" altLang="en-US" sz="1100" dirty="0"/>
              <a:t>Benzina</a:t>
            </a:r>
            <a:endParaRPr lang="it-IT" sz="1100" noProof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8268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7032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11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8301" y="423158"/>
            <a:ext cx="11448000" cy="719842"/>
          </a:xfrm>
        </p:spPr>
        <p:txBody>
          <a:bodyPr/>
          <a:lstStyle/>
          <a:p>
            <a:r>
              <a:rPr lang="it-IT" dirty="0"/>
              <a:t>Poco mercato per le auto elettriche fuel cell (FCEV) fino al 2030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368301" y="6164264"/>
            <a:ext cx="11448000" cy="171735"/>
          </a:xfrm>
        </p:spPr>
        <p:txBody>
          <a:bodyPr/>
          <a:lstStyle/>
          <a:p>
            <a:r>
              <a:rPr lang="en-GB" sz="1000" dirty="0"/>
              <a:t>Fonti: IEA, The Japan Times, AlixPartner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013A7881-44BC-4093-8153-DD4C35D4F25D}"/>
              </a:ext>
            </a:extLst>
          </p:cNvPr>
          <p:cNvSpPr txBox="1">
            <a:spLocks/>
          </p:cNvSpPr>
          <p:nvPr/>
        </p:nvSpPr>
        <p:spPr>
          <a:xfrm>
            <a:off x="368301" y="1455739"/>
            <a:ext cx="2340000" cy="432298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lvl="1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Scelta di veicoli limitata: Honda FCX Clarity disponibile dal 2008, ma interrotta nel 2014.</a:t>
            </a:r>
          </a:p>
          <a:p>
            <a:pPr lvl="1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Storicamente i governi non si sono focalizzati sulle evoluzioni della tecnologia e delle infrastrutture FCEV, anche se esistono alcune iniziative (es: USA - Hydrogen Fuel Initiative; Germania – Programma Federale per la Ricerca sull’Energia).</a:t>
            </a:r>
          </a:p>
          <a:p>
            <a:pPr lvl="1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Alcune nuove politiche iniziano a influenzare la crescita commerciale degli FCEV (es.: 2013 California Assembly Bill 8; 2014 in Giappone, introduzione di un programma di sovvenzioni per i consumatori).</a:t>
            </a:r>
          </a:p>
        </p:txBody>
      </p:sp>
      <p:sp>
        <p:nvSpPr>
          <p:cNvPr id="60" name="SubHeaderV">
            <a:extLst>
              <a:ext uri="{FF2B5EF4-FFF2-40B4-BE49-F238E27FC236}">
                <a16:creationId xmlns:a16="http://schemas.microsoft.com/office/drawing/2014/main" id="{3AA9D354-DA7D-4C07-95A2-EE21BAF161E8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68301" y="1149627"/>
            <a:ext cx="2340000" cy="22328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pPr>
              <a:spcAft>
                <a:spcPts val="400"/>
              </a:spcAft>
            </a:pPr>
            <a:r>
              <a:rPr lang="it-IT" dirty="0"/>
              <a:t>Passato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4396FAE2-B510-4094-9DBF-DC2106B5835B}"/>
              </a:ext>
            </a:extLst>
          </p:cNvPr>
          <p:cNvSpPr txBox="1">
            <a:spLocks/>
          </p:cNvSpPr>
          <p:nvPr/>
        </p:nvSpPr>
        <p:spPr>
          <a:xfrm>
            <a:off x="9463602" y="1455739"/>
            <a:ext cx="2340000" cy="432298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lvl="6" indent="-266700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Segnali di crescita:</a:t>
            </a:r>
          </a:p>
          <a:p>
            <a:pPr lvl="1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Nissan, Daimler, Ford e Renault dovrebbero lanciare FCEV.</a:t>
            </a:r>
          </a:p>
          <a:p>
            <a:pPr lvl="1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Paesi UE investono in infrastrutture per l’idrogeno (es: Germania, UK).</a:t>
            </a:r>
          </a:p>
          <a:p>
            <a:pPr lvl="1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Toyota ha reso disponibili una serie di licenze, incoraggiando l’innovazione globale.</a:t>
            </a:r>
          </a:p>
          <a:p>
            <a:pPr lvl="6" indent="-266700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Ostacoli alla crescita:</a:t>
            </a:r>
          </a:p>
          <a:p>
            <a:pPr lvl="1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Miglioramento nel design dei FCEV.</a:t>
            </a:r>
          </a:p>
          <a:p>
            <a:pPr lvl="1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Accesso al rifornimento.</a:t>
            </a:r>
          </a:p>
          <a:p>
            <a:pPr lvl="1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Aziende energetiche riluttanti a investire sulle infrastrutture FCEV.</a:t>
            </a:r>
          </a:p>
          <a:p>
            <a:pPr lvl="1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Problemi irrisolti su produzione, trasporto e stoccaggio di idrogeno.</a:t>
            </a:r>
          </a:p>
          <a:p>
            <a:pPr lvl="1">
              <a:lnSpc>
                <a:spcPct val="100000"/>
              </a:lnSpc>
              <a:spcAft>
                <a:spcPts val="400"/>
              </a:spcAft>
            </a:pPr>
            <a:r>
              <a:rPr lang="it-IT" sz="1100" dirty="0"/>
              <a:t>Preoccupazioni legate ai benefici ambientali rispetto alla combustione interna.</a:t>
            </a:r>
          </a:p>
        </p:txBody>
      </p:sp>
      <p:sp>
        <p:nvSpPr>
          <p:cNvPr id="25" name="SubHeaderV">
            <a:extLst>
              <a:ext uri="{FF2B5EF4-FFF2-40B4-BE49-F238E27FC236}">
                <a16:creationId xmlns:a16="http://schemas.microsoft.com/office/drawing/2014/main" id="{B7950E84-18DB-42B3-A8FC-D70F65F503C8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9463602" y="1149627"/>
            <a:ext cx="2340000" cy="22328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pPr>
              <a:spcAft>
                <a:spcPts val="400"/>
              </a:spcAft>
            </a:pPr>
            <a:r>
              <a:rPr lang="it-IT" dirty="0"/>
              <a:t>Futuro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3FD87195-DFCF-450A-A795-BC5412B1AED9}"/>
              </a:ext>
            </a:extLst>
          </p:cNvPr>
          <p:cNvSpPr txBox="1">
            <a:spLocks/>
          </p:cNvSpPr>
          <p:nvPr/>
        </p:nvSpPr>
        <p:spPr>
          <a:xfrm>
            <a:off x="3050653" y="1455739"/>
            <a:ext cx="6070598" cy="432298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defRPr sz="2000" b="0" u="none" baseline="0">
                <a:solidFill>
                  <a:schemeClr val="tx1"/>
                </a:solidFill>
                <a:uFill>
                  <a:solidFill>
                    <a:schemeClr val="accent5"/>
                  </a:solidFill>
                </a:uFill>
                <a:latin typeface="+mn-lt"/>
                <a:ea typeface="+mn-ea"/>
                <a:cs typeface="+mn-cs"/>
              </a:defRPr>
            </a:lvl1pPr>
            <a:lvl2pPr marL="266700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62865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tabLst>
                <a:tab pos="542925" algn="l"/>
              </a:tabLst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5381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F0502020204030204" pitchFamily="34" charset="0"/>
              <a:buChar char="−"/>
              <a:defRPr sz="20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365756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/>
              <a:buNone/>
              <a:defRPr sz="1000" b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000" b="1">
                <a:solidFill>
                  <a:schemeClr val="tx1"/>
                </a:solidFill>
                <a:latin typeface="+mn-lt"/>
              </a:defRPr>
            </a:lvl7pPr>
            <a:lvl8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2400" i="1" baseline="0">
                <a:solidFill>
                  <a:schemeClr val="bg2"/>
                </a:solidFill>
                <a:latin typeface="+mn-lt"/>
              </a:defRPr>
            </a:lvl8pPr>
            <a:lvl9pPr eaLnBrk="1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defRPr sz="1200" cap="all" baseline="0">
                <a:solidFill>
                  <a:schemeClr val="bg2"/>
                </a:solidFill>
                <a:latin typeface="+mn-lt"/>
              </a:defRPr>
            </a:lvl9pPr>
          </a:lstStyle>
          <a:p>
            <a:pPr marL="0" lvl="1" indent="0">
              <a:lnSpc>
                <a:spcPct val="95000"/>
              </a:lnSpc>
              <a:spcAft>
                <a:spcPts val="200"/>
              </a:spcAft>
              <a:buNone/>
            </a:pPr>
            <a:r>
              <a:rPr lang="it-IT" sz="1100" dirty="0"/>
              <a:t>2015 – annuncio di 3 nuovi FCEV:</a:t>
            </a:r>
          </a:p>
          <a:p>
            <a:pPr marL="0" lvl="1" indent="0">
              <a:lnSpc>
                <a:spcPct val="95000"/>
              </a:lnSpc>
              <a:spcAft>
                <a:spcPts val="200"/>
              </a:spcAft>
              <a:buNone/>
            </a:pPr>
            <a:endParaRPr lang="it-IT" sz="1100" dirty="0"/>
          </a:p>
          <a:p>
            <a:pPr lvl="1">
              <a:lnSpc>
                <a:spcPct val="95000"/>
              </a:lnSpc>
              <a:spcAft>
                <a:spcPts val="200"/>
              </a:spcAft>
            </a:pPr>
            <a:endParaRPr lang="it-IT" sz="1100" dirty="0"/>
          </a:p>
          <a:p>
            <a:pPr lvl="1">
              <a:lnSpc>
                <a:spcPct val="95000"/>
              </a:lnSpc>
              <a:spcAft>
                <a:spcPts val="200"/>
              </a:spcAft>
            </a:pPr>
            <a:endParaRPr lang="it-IT" sz="1100" dirty="0"/>
          </a:p>
          <a:p>
            <a:pPr lvl="1">
              <a:lnSpc>
                <a:spcPct val="95000"/>
              </a:lnSpc>
              <a:spcAft>
                <a:spcPts val="200"/>
              </a:spcAft>
            </a:pPr>
            <a:endParaRPr lang="it-IT" sz="1100" dirty="0"/>
          </a:p>
          <a:p>
            <a:pPr lvl="1">
              <a:lnSpc>
                <a:spcPct val="95000"/>
              </a:lnSpc>
              <a:spcAft>
                <a:spcPts val="200"/>
              </a:spcAft>
            </a:pPr>
            <a:endParaRPr lang="it-IT" sz="1100" dirty="0"/>
          </a:p>
          <a:p>
            <a:pPr lvl="6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</a:pPr>
            <a:r>
              <a:rPr lang="it-IT" sz="1100" dirty="0"/>
              <a:t>Aumento degli incentivi governativi in alcune regioni: </a:t>
            </a:r>
          </a:p>
          <a:p>
            <a:pPr lvl="1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Giappone:</a:t>
            </a:r>
          </a:p>
          <a:p>
            <a:pPr lvl="2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Sovvenzioni fino a 3 milioni di yen ($25.500) per l’acquisto di Toyota Mirai.</a:t>
            </a:r>
          </a:p>
          <a:p>
            <a:pPr lvl="1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USA:</a:t>
            </a:r>
          </a:p>
          <a:p>
            <a:pPr lvl="2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Da $3.000 a $5.000 in sovvenzioni.</a:t>
            </a:r>
          </a:p>
          <a:p>
            <a:pPr lvl="2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$8.000 in credito fiscale federale (in attesa di rinnovo dell’autorizzazione del Congresso)</a:t>
            </a:r>
          </a:p>
          <a:p>
            <a:pPr lvl="2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Utilizzo della corsia preferenziale HOV (High-Occupancy Vehicles).</a:t>
            </a:r>
          </a:p>
          <a:p>
            <a:pPr lvl="6">
              <a:lnSpc>
                <a:spcPct val="95000"/>
              </a:lnSpc>
              <a:spcBef>
                <a:spcPts val="0"/>
              </a:spcBef>
              <a:spcAft>
                <a:spcPts val="200"/>
              </a:spcAft>
            </a:pPr>
            <a:r>
              <a:rPr lang="it-IT" sz="1100" dirty="0"/>
              <a:t>Budget governativi in crescita per investimenti in infrastrutture:</a:t>
            </a:r>
          </a:p>
          <a:p>
            <a:pPr lvl="1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Giappone:</a:t>
            </a:r>
          </a:p>
          <a:p>
            <a:pPr lvl="2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In corso di realizzazione 100 stazioni di rifornimento (previste entro il 2017).</a:t>
            </a:r>
          </a:p>
          <a:p>
            <a:pPr lvl="2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Tokyo: budget di ¥42,5 miliardi ($385 milioni) per stazioni di rifornimento e sovvenzioni.</a:t>
            </a:r>
          </a:p>
          <a:p>
            <a:pPr lvl="2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80% dei costi legati alla costruzione delle stazioni di rifornimento sono sovvenzionati dal governo, considerando il costo paragonabile alle stazioni tradizionali.</a:t>
            </a:r>
          </a:p>
          <a:p>
            <a:pPr lvl="1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USA:</a:t>
            </a:r>
          </a:p>
          <a:p>
            <a:pPr lvl="2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48 stazioni di rifornimento In corso di realizzazione in California entro il 2017; obbiettivo 2020: 75 (finanziamento misto stato/OEM). </a:t>
            </a:r>
          </a:p>
          <a:p>
            <a:pPr lvl="2">
              <a:lnSpc>
                <a:spcPct val="95000"/>
              </a:lnSpc>
              <a:spcAft>
                <a:spcPts val="200"/>
              </a:spcAft>
            </a:pPr>
            <a:r>
              <a:rPr lang="it-IT" sz="1100" dirty="0"/>
              <a:t>Le agenzie governative forniscono agli operatori sovvenzioni per le infrastrutture (es: California Energy Commission).</a:t>
            </a:r>
          </a:p>
        </p:txBody>
      </p:sp>
      <p:sp>
        <p:nvSpPr>
          <p:cNvPr id="27" name="SubHeaderV">
            <a:extLst>
              <a:ext uri="{FF2B5EF4-FFF2-40B4-BE49-F238E27FC236}">
                <a16:creationId xmlns:a16="http://schemas.microsoft.com/office/drawing/2014/main" id="{94637663-6ECF-49CD-9471-14C5F3CCF00F}"/>
              </a:ext>
            </a:extLst>
          </p:cNvPr>
          <p:cNvSpPr txBox="1">
            <a:spLocks noGrp="1" noRot="1" noEditPoints="1" noAdjustHandles="1" noChangeShapeType="1"/>
          </p:cNvSpPr>
          <p:nvPr/>
        </p:nvSpPr>
        <p:spPr bwMode="gray">
          <a:xfrm>
            <a:off x="3050652" y="1149627"/>
            <a:ext cx="6070598" cy="223281"/>
          </a:xfrm>
          <a:prstGeom prst="callout1">
            <a:avLst>
              <a:gd name="adj1" fmla="val 100000"/>
              <a:gd name="adj2" fmla="val 100000"/>
              <a:gd name="adj3" fmla="val 100000"/>
              <a:gd name="adj4" fmla="val 0"/>
            </a:avLst>
          </a:prstGeom>
          <a:noFill/>
          <a:ln>
            <a:solidFill>
              <a:schemeClr val="accent5"/>
            </a:solidFill>
          </a:ln>
          <a:effectLst/>
        </p:spPr>
        <p:txBody>
          <a:bodyPr vert="horz" wrap="square" lIns="0" tIns="0" rIns="0" bIns="73152" rtlCol="0" anchor="t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1200"/>
            </a:lvl1pPr>
          </a:lstStyle>
          <a:p>
            <a:r>
              <a:rPr lang="it-IT" dirty="0"/>
              <a:t>Situazione attual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35255DE-7960-48A5-9FFA-B2E46652CD78}"/>
              </a:ext>
            </a:extLst>
          </p:cNvPr>
          <p:cNvGrpSpPr/>
          <p:nvPr/>
        </p:nvGrpSpPr>
        <p:grpSpPr>
          <a:xfrm>
            <a:off x="3050652" y="1758447"/>
            <a:ext cx="2165536" cy="617851"/>
            <a:chOff x="1865673" y="1716835"/>
            <a:chExt cx="1688339" cy="642268"/>
          </a:xfrm>
        </p:grpSpPr>
        <p:pic>
          <p:nvPicPr>
            <p:cNvPr id="38" name="Picture 80">
              <a:extLst>
                <a:ext uri="{FF2B5EF4-FFF2-40B4-BE49-F238E27FC236}">
                  <a16:creationId xmlns:a16="http://schemas.microsoft.com/office/drawing/2014/main" id="{26FD7E3C-05F2-41B8-B880-D718E83693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65673" y="1716835"/>
              <a:ext cx="866833" cy="6366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978732E-FF96-46AB-B80E-00A9E5429BBC}"/>
                </a:ext>
              </a:extLst>
            </p:cNvPr>
            <p:cNvSpPr txBox="1"/>
            <p:nvPr/>
          </p:nvSpPr>
          <p:spPr>
            <a:xfrm>
              <a:off x="2730735" y="1721904"/>
              <a:ext cx="823277" cy="6371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40500" tIns="40500" rIns="40500" bIns="40500" rtlCol="0" anchor="ctr" anchorCtr="0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it-IT" sz="900" b="1" dirty="0">
                  <a:solidFill>
                    <a:schemeClr val="tx2"/>
                  </a:solidFill>
                </a:rPr>
                <a:t>Next generation Honda </a:t>
              </a:r>
              <a:br>
                <a:rPr lang="it-IT" sz="900" b="1" dirty="0">
                  <a:solidFill>
                    <a:schemeClr val="tx2"/>
                  </a:solidFill>
                </a:rPr>
              </a:br>
              <a:r>
                <a:rPr lang="it-IT" sz="900" b="1" dirty="0">
                  <a:solidFill>
                    <a:schemeClr val="tx2"/>
                  </a:solidFill>
                </a:rPr>
                <a:t>FCX Clarity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93E5027B-9BC4-4B91-8D4B-4DEDF77115A0}"/>
              </a:ext>
            </a:extLst>
          </p:cNvPr>
          <p:cNvGrpSpPr/>
          <p:nvPr/>
        </p:nvGrpSpPr>
        <p:grpSpPr>
          <a:xfrm>
            <a:off x="5323852" y="1764464"/>
            <a:ext cx="1865109" cy="612976"/>
            <a:chOff x="3706277" y="1733340"/>
            <a:chExt cx="1454114" cy="637201"/>
          </a:xfrm>
        </p:grpSpPr>
        <p:pic>
          <p:nvPicPr>
            <p:cNvPr id="41" name="Picture 81">
              <a:extLst>
                <a:ext uri="{FF2B5EF4-FFF2-40B4-BE49-F238E27FC236}">
                  <a16:creationId xmlns:a16="http://schemas.microsoft.com/office/drawing/2014/main" id="{91F40AA9-FA99-4D06-82AF-01BE85AD9F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6277" y="1733340"/>
              <a:ext cx="866833" cy="6366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5F51079-853A-419A-B341-B40739351289}"/>
                </a:ext>
              </a:extLst>
            </p:cNvPr>
            <p:cNvSpPr txBox="1"/>
            <p:nvPr/>
          </p:nvSpPr>
          <p:spPr>
            <a:xfrm>
              <a:off x="4573111" y="1733341"/>
              <a:ext cx="587280" cy="6372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40500" tIns="40500" rIns="40500" bIns="40500" rtlCol="0" anchor="ctr" anchorCtr="0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it-IT" sz="900" b="1" dirty="0">
                  <a:solidFill>
                    <a:schemeClr val="tx2"/>
                  </a:solidFill>
                </a:rPr>
                <a:t>Toyota </a:t>
              </a:r>
              <a:br>
                <a:rPr lang="it-IT" sz="900" b="1" dirty="0">
                  <a:solidFill>
                    <a:schemeClr val="tx2"/>
                  </a:solidFill>
                </a:rPr>
              </a:br>
              <a:r>
                <a:rPr lang="it-IT" sz="900" b="1" dirty="0">
                  <a:solidFill>
                    <a:schemeClr val="tx2"/>
                  </a:solidFill>
                </a:rPr>
                <a:t>Mirai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092CFD2-03CD-4D7C-824F-6CAC5D207212}"/>
              </a:ext>
            </a:extLst>
          </p:cNvPr>
          <p:cNvGrpSpPr/>
          <p:nvPr/>
        </p:nvGrpSpPr>
        <p:grpSpPr>
          <a:xfrm>
            <a:off x="7296626" y="1764462"/>
            <a:ext cx="1859293" cy="612975"/>
            <a:chOff x="5900818" y="1733340"/>
            <a:chExt cx="1449579" cy="637200"/>
          </a:xfrm>
        </p:grpSpPr>
        <p:pic>
          <p:nvPicPr>
            <p:cNvPr id="44" name="Picture 82">
              <a:extLst>
                <a:ext uri="{FF2B5EF4-FFF2-40B4-BE49-F238E27FC236}">
                  <a16:creationId xmlns:a16="http://schemas.microsoft.com/office/drawing/2014/main" id="{8DEC4ADD-6B28-4423-9220-0D6E7A3DF7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0818" y="1733340"/>
              <a:ext cx="968721" cy="6366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A2D1E15-B93C-46F0-A347-9E705FB0D74B}"/>
                </a:ext>
              </a:extLst>
            </p:cNvPr>
            <p:cNvSpPr txBox="1"/>
            <p:nvPr/>
          </p:nvSpPr>
          <p:spPr>
            <a:xfrm>
              <a:off x="6869545" y="1733341"/>
              <a:ext cx="480852" cy="6371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40500" tIns="40500" rIns="40500" bIns="40500" rtlCol="0" anchor="ctr" anchorCtr="0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it-IT" sz="900" b="1" dirty="0">
                  <a:solidFill>
                    <a:schemeClr val="tx2"/>
                  </a:solidFill>
                </a:rPr>
                <a:t>Hyundai Tucs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7302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>
            <a:extLst>
              <a:ext uri="{FF2B5EF4-FFF2-40B4-BE49-F238E27FC236}">
                <a16:creationId xmlns:a16="http://schemas.microsoft.com/office/drawing/2014/main" id="{6AE2EBBA-FF83-4220-85A3-166CB6C7E1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4180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4" name="Object 103" hidden="1">
                        <a:extLst>
                          <a:ext uri="{FF2B5EF4-FFF2-40B4-BE49-F238E27FC236}">
                            <a16:creationId xmlns:a16="http://schemas.microsoft.com/office/drawing/2014/main" id="{6AE2EBBA-FF83-4220-85A3-166CB6C7E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 hidden="1">
            <a:extLst>
              <a:ext uri="{FF2B5EF4-FFF2-40B4-BE49-F238E27FC236}">
                <a16:creationId xmlns:a16="http://schemas.microsoft.com/office/drawing/2014/main" id="{E30A57B0-BE36-41C0-9C86-DED4E956963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11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8301" y="423158"/>
            <a:ext cx="11448000" cy="719842"/>
          </a:xfrm>
        </p:spPr>
        <p:txBody>
          <a:bodyPr/>
          <a:lstStyle/>
          <a:p>
            <a:r>
              <a:rPr lang="it-IT" dirty="0"/>
              <a:t>AlixPartners Automotive Electrification Index</a:t>
            </a:r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AED2F22-A26A-49B6-85C3-56DF820E8E8B}"/>
              </a:ext>
            </a:extLst>
          </p:cNvPr>
          <p:cNvSpPr txBox="1"/>
          <p:nvPr/>
        </p:nvSpPr>
        <p:spPr>
          <a:xfrm>
            <a:off x="366713" y="1455738"/>
            <a:ext cx="11449588" cy="16594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450"/>
              </a:spcAft>
            </a:pPr>
            <a:r>
              <a:rPr lang="it-IT" sz="1600" b="1" dirty="0"/>
              <a:t>Indice 1 = ∑</a:t>
            </a:r>
            <a:r>
              <a:rPr lang="it-IT" sz="1600" b="1" baseline="-25000" dirty="0"/>
              <a:t>tutti i tipi di veicoli</a:t>
            </a:r>
            <a:r>
              <a:rPr lang="it-IT" sz="1600" b="1" dirty="0"/>
              <a:t> Numero di veicoli elettrici venduti * Autonomia elettrica (km) senza 																					 supporto di combustione interna</a:t>
            </a:r>
          </a:p>
          <a:p>
            <a:pPr marL="128588" indent="-128588">
              <a:lnSpc>
                <a:spcPct val="10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endParaRPr lang="it-IT" sz="1100" dirty="0">
              <a:ea typeface="ＭＳ Ｐゴシック" pitchFamily="1" charset="-128"/>
            </a:endParaRPr>
          </a:p>
          <a:p>
            <a:pPr marL="128588" indent="-128588">
              <a:lnSpc>
                <a:spcPct val="10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it-IT" sz="1100" dirty="0">
                <a:ea typeface="ＭＳ Ｐゴシック" pitchFamily="1" charset="-128"/>
              </a:rPr>
              <a:t>L’Indice 1 misura trimestralmente l’avanzamento del processo di elettrificazione del settore automobilistico globale</a:t>
            </a:r>
          </a:p>
          <a:p>
            <a:pPr marL="128588" indent="-128588">
              <a:lnSpc>
                <a:spcPct val="10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it-IT" sz="1100" dirty="0">
                <a:ea typeface="ＭＳ Ｐゴシック" pitchFamily="1" charset="-128"/>
              </a:rPr>
              <a:t>Calcoli per OEM, segmento, regione e paese </a:t>
            </a:r>
          </a:p>
          <a:p>
            <a:pPr marL="128588" indent="-128588">
              <a:lnSpc>
                <a:spcPct val="10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it-IT" sz="1100" dirty="0">
                <a:ea typeface="ＭＳ Ｐゴシック" pitchFamily="1" charset="-128"/>
              </a:rPr>
              <a:t>Inclusi BEV, PHEV and FCEV – esclusi HEV non ricaricabili e altri veicoli a carburanti alternativi</a:t>
            </a:r>
          </a:p>
          <a:p>
            <a:pPr>
              <a:lnSpc>
                <a:spcPct val="100000"/>
              </a:lnSpc>
              <a:spcAft>
                <a:spcPts val="450"/>
              </a:spcAft>
            </a:pPr>
            <a:endParaRPr lang="it-IT" sz="1100" dirty="0">
              <a:ea typeface="ＭＳ Ｐゴシック" pitchFamily="1" charset="-128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7962BFD-7EAE-4FFB-A5C7-755D88F2BA09}"/>
              </a:ext>
            </a:extLst>
          </p:cNvPr>
          <p:cNvCxnSpPr>
            <a:cxnSpLocks/>
          </p:cNvCxnSpPr>
          <p:nvPr/>
        </p:nvCxnSpPr>
        <p:spPr bwMode="gray">
          <a:xfrm>
            <a:off x="407668" y="3267955"/>
            <a:ext cx="11417620" cy="0"/>
          </a:xfrm>
          <a:prstGeom prst="line">
            <a:avLst/>
          </a:prstGeom>
          <a:noFill/>
          <a:ln w="63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13634DA7-0558-4A33-B631-DB0B2F64EC77}"/>
              </a:ext>
            </a:extLst>
          </p:cNvPr>
          <p:cNvGrpSpPr/>
          <p:nvPr/>
        </p:nvGrpSpPr>
        <p:grpSpPr>
          <a:xfrm>
            <a:off x="366713" y="3810000"/>
            <a:ext cx="11701462" cy="2033890"/>
            <a:chOff x="366713" y="3810000"/>
            <a:chExt cx="11701462" cy="2033890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7BE8D60-172B-4DEA-BBA1-725548FE495B}"/>
                </a:ext>
              </a:extLst>
            </p:cNvPr>
            <p:cNvSpPr txBox="1"/>
            <p:nvPr/>
          </p:nvSpPr>
          <p:spPr>
            <a:xfrm>
              <a:off x="366713" y="3810000"/>
              <a:ext cx="11701462" cy="20338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</a:pPr>
              <a:r>
                <a:rPr lang="it-IT" sz="1600" b="1" dirty="0"/>
                <a:t>Indice 2 =∑</a:t>
              </a:r>
              <a:r>
                <a:rPr lang="it-IT" sz="1600" b="1" baseline="-25000" dirty="0"/>
                <a:t>tutti i tipi di veicoli </a:t>
              </a:r>
              <a:r>
                <a:rPr lang="it-IT" sz="1600" b="1" dirty="0"/>
                <a:t>Numero di veicoli elettrici venduti * (Autonomia elettrica senza supporto di 																			 combustione interna/500 km)</a:t>
              </a:r>
            </a:p>
            <a:p>
              <a:pPr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</a:pPr>
              <a:r>
                <a:rPr lang="it-IT" sz="1600" b="1" dirty="0"/>
                <a:t> </a:t>
              </a:r>
            </a:p>
            <a:p>
              <a:pPr marL="128588" indent="-128588">
                <a:lnSpc>
                  <a:spcPct val="100000"/>
                </a:lnSpc>
                <a:spcAft>
                  <a:spcPts val="450"/>
                </a:spcAft>
                <a:buFont typeface="Arial" panose="020B0604020202020204" pitchFamily="34" charset="0"/>
                <a:buChar char="•"/>
              </a:pPr>
              <a:endParaRPr lang="it-IT" sz="1100" dirty="0">
                <a:ea typeface="ＭＳ Ｐゴシック" pitchFamily="1" charset="-128"/>
              </a:endParaRPr>
            </a:p>
            <a:p>
              <a:pPr marL="128588" indent="-128588">
                <a:lnSpc>
                  <a:spcPct val="100000"/>
                </a:lnSpc>
                <a:spcAft>
                  <a:spcPts val="450"/>
                </a:spcAft>
                <a:buFont typeface="Arial" panose="020B0604020202020204" pitchFamily="34" charset="0"/>
                <a:buChar char="•"/>
              </a:pPr>
              <a:r>
                <a:rPr lang="it-IT" sz="1100" dirty="0">
                  <a:ea typeface="ＭＳ Ｐゴシック" pitchFamily="1" charset="-128"/>
                </a:rPr>
                <a:t>L’Indice 2 determina trimestralmente il livello di elettrificazione della gamma venduta</a:t>
              </a:r>
            </a:p>
            <a:p>
              <a:pPr marL="128588" indent="-128588">
                <a:lnSpc>
                  <a:spcPct val="100000"/>
                </a:lnSpc>
                <a:spcAft>
                  <a:spcPts val="450"/>
                </a:spcAft>
                <a:buFont typeface="Arial" panose="020B0604020202020204" pitchFamily="34" charset="0"/>
                <a:buChar char="•"/>
              </a:pPr>
              <a:r>
                <a:rPr lang="it-IT" sz="1100" dirty="0">
                  <a:ea typeface="ＭＳ Ｐゴシック" pitchFamily="1" charset="-128"/>
                </a:rPr>
                <a:t>Calcoli per OEM, segmento, regione e paese </a:t>
              </a:r>
            </a:p>
            <a:p>
              <a:pPr marL="128588" indent="-128588">
                <a:lnSpc>
                  <a:spcPct val="100000"/>
                </a:lnSpc>
                <a:spcAft>
                  <a:spcPts val="450"/>
                </a:spcAft>
                <a:buFont typeface="Arial" panose="020B0604020202020204" pitchFamily="34" charset="0"/>
                <a:buChar char="•"/>
              </a:pPr>
              <a:r>
                <a:rPr lang="it-IT" sz="1100" dirty="0">
                  <a:ea typeface="ＭＳ Ｐゴシック" pitchFamily="1" charset="-128"/>
                </a:rPr>
                <a:t>Inclusi BEV, PHEV and FCEV – esclusi HEV non ricaricabili e altri veicoli a carburanti alternativi</a:t>
              </a:r>
            </a:p>
            <a:p>
              <a:pPr marL="128588" indent="-128588">
                <a:lnSpc>
                  <a:spcPct val="100000"/>
                </a:lnSpc>
                <a:spcAft>
                  <a:spcPts val="450"/>
                </a:spcAft>
                <a:buFont typeface="Arial" panose="020B0604020202020204" pitchFamily="34" charset="0"/>
                <a:buChar char="•"/>
              </a:pPr>
              <a:r>
                <a:rPr lang="it-IT" sz="1100" dirty="0">
                  <a:ea typeface="ＭＳ Ｐゴシック" pitchFamily="1" charset="-128"/>
                </a:rPr>
                <a:t>Ponderazione su autonomia di 500 km basata su standard di settore per motori a combustione interna. </a:t>
              </a: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C0B1AF79-932A-4E65-8775-7ED33FFD002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562100" y="4354706"/>
              <a:ext cx="102542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F1CB81B-64F5-470B-8ED6-543D9F97D60D}"/>
                </a:ext>
              </a:extLst>
            </p:cNvPr>
            <p:cNvSpPr/>
            <p:nvPr/>
          </p:nvSpPr>
          <p:spPr>
            <a:xfrm>
              <a:off x="5361753" y="4354706"/>
              <a:ext cx="265489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00000"/>
                </a:lnSpc>
                <a:spcBef>
                  <a:spcPts val="450"/>
                </a:spcBef>
                <a:spcAft>
                  <a:spcPts val="450"/>
                </a:spcAft>
              </a:pPr>
              <a:r>
                <a:rPr lang="it-IT" sz="1600" b="1" dirty="0"/>
                <a:t>Totale veicoli vendut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5152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4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2.53899999999999970157E+00&quot;&gt;&lt;m_msothmcolidx val=&quot;0&quot;/&gt;&lt;m_rgb r=&quot;D6&quot; g=&quot;EF&quot; b=&quot;CB&quot;/&gt;&lt;m_nBrightness val=&quot;0&quot;/&gt;&lt;/elem&gt;&lt;elem m_fUsage=&quot;9.00000000000000022204E-01&quot;&gt;&lt;m_msothmcolidx val=&quot;0&quot;/&gt;&lt;m_rgb r=&quot;78&quot; g=&quot;BD&quot; b=&quot;04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2fAwgLQPO5Ly1_1nAMT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5K_2n9QG2G0anyupmPS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IlEGmtSN6qxOg0WsTZu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PeratWTWa_.xP_yneme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gfl3ppQ.6mxRSMNTTr0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qCY5MEQGCV8MqKgyCMW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9o6_07SOWPIdmuxjcRz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jwlD9_QDCk6oQRSZkkw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SOGE0LRj.OJyHzJZJQ7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BSfznpTj.4wn4gpvYD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_BJ7I_TG.6GieYjloHe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pZmOU7Tpe8Ag4gLPm4s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AOYH8VQbqldpQ6HAnog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Bl5S2vQam1hSueqYB2B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KjUKw4Q.aYoEZJKWDcv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vfQJyrSeqgvFhHg4px0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jGxlTITHmTR16TKYIj6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mtrZECTCmhrDfeGIXPd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ZxtoutSxW0pkc5pU6VJ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wunxHzStmViIIUG8kS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0cy15cRbazbNFID4BuL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9xwWLgQoWIGr9tiG7JV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HVwSLvQU2ShGbPqfN.D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cXTZO4Sma8XiMOknZF9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rwYOIGS6u61DCpy5ptK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eGjd1cQuy0HcKHSkzP.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4LAWoAQs.bu.9gprDzK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F2VZYtSUaFxtiRwwjx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oOroBYRRWHdy35aAw2Z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sVg4Q8S0yyPeh0fni2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wJoK6ST.SICYt0frJhu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8N8YtQRY2FonX.XNOja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nijRLZTu.LthE6ot.1G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WpdLZ5SjapK00gaS1uA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ipI9ifS7ylidGRCqyD1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RlS2z.SkOo9fLVRYFeS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OJbeYnTwSnTFc7TYMm2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Ir6D6pQJyD1Gk_KB4GF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hz7CWiQumM4v9t1XHS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ZcdtBFRaiTvQ0nbnC9Z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6Cqi0eR6mrkbqWfd0zH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4fPDRQEGBRIsXtwp5N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kbkUDtTDq3y4Pcz.y2X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eseLDT3enGzMGYsZZg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3Sx7pUTDCQy1cjBMTmZ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.cPTg8QdGtzHsRaMf8X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vorUFNQA.M_Rz9wt81f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27LpJSTVqdTOtfyIWuL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x8qU6fTrGdaZ5NAu2_S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ElzO0iTXOUOpc4s0TH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nHmuA8RGGAy6od4RgVf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PqGsz3Sxi1EzbXYEFtK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R2Z_QQT_ygjPEbDgq.c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NgISs5Sp.dL7XO7jROV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DpKLlkRgyneG6zOoVM9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mqqzwlR6mMLhzuOsQ8d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vC8D9RfmqTG7Aw564y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1ozuvGQb2oGeP_p.5XK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JqabT7RLq3pCyZEReCI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9td4K4T3q_Ja3nh43pi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Eh9UqAR2OKtSCibgBXU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8daVUnROGsNzyMVS7ey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MvohnLRyunhKBNr8N_r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xPT1eWQtaQceMbE30pg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0OIuf7QeqgoUVhX9lz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1eRN54QRqnl3IOsrg2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xtAfrZTbGrZqcC25c.m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VV1.juRAWxnBBx3eO0Y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pEVamIRGq2IdiQhQQv9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3RdyKTRI._z4k3.Kn7w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UDUWIRvuwlWiXgu4I5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ElZMDfThSJwTGLBufDU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bNIF85S.elSa1IvYzMz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TpUC4VTUmKmQlVkEZgY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x4QmVASaeO1GrVxTjp4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NRyPOFSR2pPfRuSy63S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CD_L7TIK2tGobkwi.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bIt_I5RcmgYKuwnMgR4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yJYN7CS.GF9pHCrGK_K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LtXKv8TzO38aKyO.Nc2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M4Pgu7Q.GqO.NY1rCsb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fyVkTyTvytXDeHsTLIQ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IPXLxMRJONIsBcywNzl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sjA5paTeyF_nMt_MnkV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Zq3xDKSfOdC3pWmcIfd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oTCfZOT9eQXcRA.Oylb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5UZowmSKuTrSfJGpPL5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.ym.fASzSEsw1_0lTM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gzaBJUT5qr6V0JWbvJ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E2th3XRIO_cstGWdbvu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7sBR3ETGCJXzgMAezcN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ig8MQpQ7.WagDFBDVVy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1sbbDpQT2v1pU.KG631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vCNlsFTeaRt2LSU26kC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Xs62zyRSelNReRQzOZK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R5VC3_S2SdWGp2fwcc9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FHOkq8SNmP9rd67bsD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m_uXq3QCmr5KhtHr3Cj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kySlLaQ0uyNwIc1qMLY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Z72fj1SCOWaheO.5ppe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RhM5xfQSeT05bjWAwqe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I0Bq9HQJ.Xo2kE2IofX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Ps1OQISFejYSjjSJnTc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vYiXJyR26oy1Gt2aht2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jaCb4HS.6NlfVD9k42u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UYjRVZQoC.54.1muIB5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HjeWUAQbShg7_FQYkPw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AYdyyKSdy5xbzMR1QK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gvvhAoQtubNLdSVVtfn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ExYwWdQdiKGza76Ddex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ViPEe1QfGeILSXKcZJU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2_5PmoQtqobasxVUkki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XoJnHbRuaDEylH_SsGX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0PwBvLTJiyKUgV4ePyP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tQPLyBSaG99mYMJ6oJL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WTMmaXRPyuttFgEtTiA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5aDrLpR3.CmuDbs6p8Y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a7ftD0RSK6HkQbm6lBo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rXBVHZSkuV6psIddQZ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kIeihxTbuDmlxkCmR4w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she5nqRmOfWcfLFMjWU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0tsEiXQzSvxmYuyHreB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gaORq6R7ulVdEmcGAvQ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4ovN_OR02d1OpuXpxLO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e2jYgsRfyWp_nHy5upL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js1NyCRkefsMKvVbTq0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WerJlKRaGiXxEw2wRoE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Pe4T5QRm2sr8pOuk0pH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SpgoSaSeKUhdZOmVFzE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Sim0ZIT.2uB8dqR0kl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OCbIqISN6F_If.zI.O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dvRY.QTOO5ylx9lqimF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Ad14YTTYy5P5RfCwAa3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dSEFq4TO6_C3FBTI7dC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l7ypIS02nfLBYPf4qb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Ov0G1BSwidEkVAZ_Fb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gEUk0sSy6cycNW5LISy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zc62D_QHmOe3cNhXV09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KBbiZxRDeQXSVY4wwuo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M1u92ORxaqFPBPlwJEa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CM8uUnS7iv5wRuISMG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SjYpiBTBSoBMqR8K1kL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D2JMTSJOUaNq9esGqN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nqbh2WS5SlUQ187pnJ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5bNFCRlyS4.l7P.csn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lUv1NGRPeDxbzRP_Ka7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CoC7_US5qx05fybyltr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FUfSB5R.GVyfSub7bZ7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7rwyaTUqnJ9RDHDnmC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6kgdVEQeSn9LYitg79J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.amnDYQp2bpr6zya3CH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O3f.Q0QruO2srmpVvP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cy_HrxRB6lRFhXKCLOQ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vcugLISN6ttq3NvyXLb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vBq.EhSlSjknpEc95I9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Iomdt.ShCbMf1OqO3ds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MXahRyQXiizhen5AoUr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V8._dERF.k_ponGnojq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YOTMiiSNSjuhZJ8MAEz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tEWP4uRkyOYRTbnLKMd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wMszGGR3evSlp7leXjZ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f6umiIT_e1O6ScNG0gM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pQ_gpBQE6WS8.7QFAt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Wwef5.Sz.PpQfHQ5BM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EljxmCQb2NVjZ9_lzv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2PGMLETzmWsH7RJ_st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0A_A8WSW6SR1nQPmqf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ZUvZM7S4aeNZWlGPTj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VP1RtaTAamnASxQGwej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VH0yS9RcmS38iKfcLf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fIivjxQt24O78L.3Bj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QAObkCSeOlH.Qf1aZQ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ibc2Z5Tj2cmY0_yScr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qmfOVDRAefTQe.KHuE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bIFFQ1STGac_n.vhbx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kS2tccTnaiUQ6Kmtuo9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E5.QcJTh6EHjfR5xp3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pusLRaQESVTXULTOSpq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RJjN3tQuyfgxTmkRtaU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9t8oRRRUKOnN.OH1KT8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2Kh9nLTbeW.vmv0friK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ERpC8YS_CiFkwu.iVO5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UpbHwaQ3aJlG0uqZq_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7rluJ5RjW8Y3LqP_k.G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24uYGUTmKX7xobnPqm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Q1nK04RBWk5gN3ujQ_d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0KL311RriASZrD5gGj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1vak86QeaI_clVlQk_y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Ud9hZfQZ2h3gZFzQMf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7mHEfuQsOAW9EnmnFV9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zs7xs7ReqOLOG_feFF6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PNO14_Sneqtm2VBri9u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_sGS3BRNqGdF17_s8r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RRJvCsVE6UfTR7sk7cD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SSENTIALS" val="Callou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SSENTIALS" val="Callou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ZnXFeA4Ey.MLjTl_JAP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U8bRLTvyN31FVNTDR3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AaYPQTQyFGYdwVNXT5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TIFqkSSUqo0XRAGwKb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OMvanlThiMqrrC7CWE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rm0h_PRhKVVl3uliyhY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_EROJcSzqgbWG61Ch_8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BeFlEuQTS0Tx19MHwB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vF45IrSMaa8Ep0RLzxt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mI7fXjTASzq4LizBWhv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Y0ylrhT1qx66B9j6SZF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xS_pCRRnegDnOmlKt_E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AI3fhET3CF2T.FD6JU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GvwhVoQjq9poCQC0CO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S0..FiQfCcTrTD5Fi0W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bz.fwSLOdjXVBJS1w8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i.yw9IRh2jRCN309x2W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WCx.3rQpagHdGFfjJPY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b2txeWSx2qY0mYNDCAr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4rn5qkRgm8RxSZf.AQ9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GIjZUpRHa0TRjymsmI0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Um3soIQcajPr6C8YTE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HR9mu2SQaxaddH3RIYM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6mMYMcS5y3lYCpunYA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lV76bpRLWl1.chXzP2c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mEjN3pQl22LJAaQ2wJ1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LnUuomSlu1Gj.JQbCt5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HOFsfxQe69TJ2FhQVNd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a3ggs3S7O74QEz1Cp5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ew80ZCTh23Py5.3Gb48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Tm0ZZDR4ShanOp504cm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ktDf0LSDqcH749Wyseo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ZynGbAQoOToZJ_NyOuG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A4_BGzSq6hDLPESJRt0A"/>
</p:tagLst>
</file>

<file path=ppt/theme/theme1.xml><?xml version="1.0" encoding="utf-8"?>
<a:theme xmlns:a="http://schemas.openxmlformats.org/drawingml/2006/main" name="AP 2017 16:9 Theme">
  <a:themeElements>
    <a:clrScheme name="AlixPartners 2017">
      <a:dk1>
        <a:srgbClr val="383838"/>
      </a:dk1>
      <a:lt1>
        <a:srgbClr val="FFFFFF"/>
      </a:lt1>
      <a:dk2>
        <a:srgbClr val="595959"/>
      </a:dk2>
      <a:lt2>
        <a:srgbClr val="808083"/>
      </a:lt2>
      <a:accent1>
        <a:srgbClr val="032E45"/>
      </a:accent1>
      <a:accent2>
        <a:srgbClr val="006176"/>
      </a:accent2>
      <a:accent3>
        <a:srgbClr val="0696A6"/>
      </a:accent3>
      <a:accent4>
        <a:srgbClr val="77B0BE"/>
      </a:accent4>
      <a:accent5>
        <a:srgbClr val="ADAFB2"/>
      </a:accent5>
      <a:accent6>
        <a:srgbClr val="ECECEE"/>
      </a:accent6>
      <a:hlink>
        <a:srgbClr val="0696A6"/>
      </a:hlink>
      <a:folHlink>
        <a:srgbClr val="0696A6"/>
      </a:folHlink>
    </a:clrScheme>
    <a:fontScheme name="AlixPartners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AlixPartners">
      <a:fillStyleLst>
        <a:solidFill>
          <a:schemeClr val="phClr"/>
        </a:solidFill>
        <a:solidFill>
          <a:schemeClr val="phClr"/>
        </a:solidFill>
        <a:solidFill>
          <a:schemeClr val="accent5"/>
        </a:solidFill>
      </a:fillStyleLst>
      <a:lnStyleLst>
        <a:ln w="9525" cap="flat" cmpd="sng" algn="ctr">
          <a:solidFill>
            <a:schemeClr val="bg2"/>
          </a:solidFill>
        </a:ln>
        <a:ln w="9525" cap="flat" cmpd="sng" algn="ctr">
          <a:solidFill>
            <a:schemeClr val="phClr"/>
          </a:solidFill>
        </a:ln>
        <a:ln w="9525" cap="flat" cmpd="sng" algn="ctr">
          <a:solidFill>
            <a:schemeClr val="bg2"/>
          </a:solidFill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accent5"/>
        </a:solidFill>
        <a:solidFill>
          <a:schemeClr val="accent2"/>
        </a:solidFill>
      </a:bgFillStyleLst>
    </a:fmtScheme>
  </a:themeElements>
  <a:objectDefaults>
    <a:spDef>
      <a:spPr bwMode="gray">
        <a:solidFill>
          <a:schemeClr val="accent2"/>
        </a:solidFill>
      </a:spPr>
      <a:bodyPr vert="horz" wrap="square" lIns="45720" tIns="45720" rIns="45720" bIns="45720" rtlCol="0" anchor="ctr" anchorCtr="0">
        <a:noAutofit/>
      </a:bodyPr>
      <a:lstStyle>
        <a:defPPr algn="ctr">
          <a:defRPr sz="1000" dirty="0" smtClean="0">
            <a:solidFill>
              <a:schemeClr val="bg1"/>
            </a:solidFill>
          </a:defRPr>
        </a:defPPr>
      </a:lstStyle>
    </a:spDef>
    <a:lnDef>
      <a:spPr bwMode="gray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vert="horz" wrap="square" lIns="0" tIns="0" rIns="0" bIns="0" rtlCol="0">
        <a:noAutofit/>
      </a:bodyPr>
      <a:lstStyle>
        <a:defPPr>
          <a:defRPr sz="1000" dirty="0" smtClean="0"/>
        </a:defPPr>
      </a:lstStyle>
    </a:txDef>
  </a:objectDefaults>
  <a:extraClrSchemeLst/>
  <a:custClrLst>
    <a:custClr name="AlixPartners Green">
      <a:srgbClr val="5CB335"/>
    </a:custClr>
    <a:custClr name="Gridlines">
      <a:srgbClr val="DEDFE0"/>
    </a:custClr>
    <a:custClr name="Orange">
      <a:srgbClr val="FF600F"/>
    </a:custClr>
    <a:custClr name="Light Orange">
      <a:srgbClr val="FF910F"/>
    </a:custClr>
    <a:custClr name="Dark Green">
      <a:srgbClr val="15723B"/>
    </a:custClr>
    <a:custClr name="Medium Green">
      <a:srgbClr val="008F0A"/>
    </a:custClr>
    <a:custClr name="Corporate Yellow">
      <a:srgbClr val="F2D715"/>
    </a:custClr>
    <a:custClr name="Corporate Red">
      <a:srgbClr val="FF3130"/>
    </a:custClr>
  </a:custClrLst>
  <a:extLst>
    <a:ext uri="{05A4C25C-085E-4340-85A3-A5531E510DB2}">
      <thm15:themeFamily xmlns:thm15="http://schemas.microsoft.com/office/thememl/2012/main" name="AlixPartners 16x9 template__Full.potx" id="{7E2B9757-7611-4E9F-B1BF-542B48B45101}" vid="{DE6E4291-2127-4274-A0D8-61F29FC41C09}"/>
    </a:ext>
  </a:extLst>
</a:theme>
</file>

<file path=ppt/theme/theme2.xml><?xml version="1.0" encoding="utf-8"?>
<a:theme xmlns:a="http://schemas.openxmlformats.org/drawingml/2006/main" name="Office Theme">
  <a:themeElements>
    <a:clrScheme name="AlixPartners 2017">
      <a:dk1>
        <a:srgbClr val="383838"/>
      </a:dk1>
      <a:lt1>
        <a:srgbClr val="FFFFFF"/>
      </a:lt1>
      <a:dk2>
        <a:srgbClr val="595959"/>
      </a:dk2>
      <a:lt2>
        <a:srgbClr val="808083"/>
      </a:lt2>
      <a:accent1>
        <a:srgbClr val="032E45"/>
      </a:accent1>
      <a:accent2>
        <a:srgbClr val="006176"/>
      </a:accent2>
      <a:accent3>
        <a:srgbClr val="0696A6"/>
      </a:accent3>
      <a:accent4>
        <a:srgbClr val="77B0BE"/>
      </a:accent4>
      <a:accent5>
        <a:srgbClr val="ADAFB2"/>
      </a:accent5>
      <a:accent6>
        <a:srgbClr val="ECECEE"/>
      </a:accent6>
      <a:hlink>
        <a:srgbClr val="5CB335"/>
      </a:hlink>
      <a:folHlink>
        <a:srgbClr val="FF3130"/>
      </a:folHlink>
    </a:clrScheme>
    <a:fontScheme name="AlixPartners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lixPartners 2017">
      <a:dk1>
        <a:srgbClr val="383838"/>
      </a:dk1>
      <a:lt1>
        <a:srgbClr val="FFFFFF"/>
      </a:lt1>
      <a:dk2>
        <a:srgbClr val="595959"/>
      </a:dk2>
      <a:lt2>
        <a:srgbClr val="808083"/>
      </a:lt2>
      <a:accent1>
        <a:srgbClr val="032E45"/>
      </a:accent1>
      <a:accent2>
        <a:srgbClr val="006176"/>
      </a:accent2>
      <a:accent3>
        <a:srgbClr val="0696A6"/>
      </a:accent3>
      <a:accent4>
        <a:srgbClr val="77B0BE"/>
      </a:accent4>
      <a:accent5>
        <a:srgbClr val="ADAFB2"/>
      </a:accent5>
      <a:accent6>
        <a:srgbClr val="ECECEE"/>
      </a:accent6>
      <a:hlink>
        <a:srgbClr val="5CB335"/>
      </a:hlink>
      <a:folHlink>
        <a:srgbClr val="FF3130"/>
      </a:folHlink>
    </a:clrScheme>
    <a:fontScheme name="AlixPartners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lixPartners 16x9 template__Full</Template>
  <TotalTime>0</TotalTime>
  <Words>2814</Words>
  <Application>Microsoft Office PowerPoint</Application>
  <PresentationFormat>Widescreen</PresentationFormat>
  <Paragraphs>1217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ＭＳ Ｐゴシック</vt:lpstr>
      <vt:lpstr>Arial</vt:lpstr>
      <vt:lpstr>Times</vt:lpstr>
      <vt:lpstr>Verdana</vt:lpstr>
      <vt:lpstr>AP 2017 16:9 Theme</vt:lpstr>
      <vt:lpstr>think-cell Slide</vt:lpstr>
      <vt:lpstr>Chart</vt:lpstr>
      <vt:lpstr>Emissioni: costruttori auto alla rincorsa delle normative europee. Intanto l’elettrico decolla.</vt:lpstr>
      <vt:lpstr>Le norme UE sulle emissioni sono sempre più restrittive</vt:lpstr>
      <vt:lpstr>Nell’uso normale, i veicoli diesel emettono NOX 5-7 volte superiori  ai limiti di legge</vt:lpstr>
      <vt:lpstr>Per raggiungere i target di CO2 del 2021 secondo gli standard WLTP i costruttori dovranno più che raddoppiare il tasso annuale di riduzione</vt:lpstr>
      <vt:lpstr>Le riduzioni dei costi delle batterie continuano a superare le aspettative: un’evoluzione che traina verosimilmente, ad esempio, Tesla Model 3</vt:lpstr>
      <vt:lpstr>Il differenziale di costo dell’auto elettrica si ridurrà per effetto dei costi di efficientamento del propulsore tradizionale e delle economie sulle batterie</vt:lpstr>
      <vt:lpstr>Entro il 2030, i veicoli elettrici (EV) e ibridi elettrici plug-in (PHEV) rappresenteranno oltre il 40% delle vendite di veicoli in Europa</vt:lpstr>
      <vt:lpstr>Poco mercato per le auto elettriche fuel cell (FCEV) fino al 2030</vt:lpstr>
      <vt:lpstr>AlixPartners Automotive Electrification Index</vt:lpstr>
      <vt:lpstr>L’elettrificazione auto sta decollando, ma l’autonomia elettrica media cresce lentamente</vt:lpstr>
      <vt:lpstr>La Cina accelera e guida la classifica mondiale delle auto elettriche vendute, Nord America ed Europa restano indietro</vt:lpstr>
      <vt:lpstr>Indice 1: Cina in testa con il maggior numero di chilometri elettrici venduti, seguita da USA e Norvegia</vt:lpstr>
      <vt:lpstr>Indice 1: Tesla prima per chilometri elettrici venduti, seguita da Renault/Nissan, BYD, BAIC e GM</vt:lpstr>
      <vt:lpstr>Indice 2: Produttori cinesi più avanzati rispetto agli OEM ‘tradizionali’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10-12T11:49:33Z</dcterms:created>
  <dcterms:modified xsi:type="dcterms:W3CDTF">2017-11-03T09:33:36Z</dcterms:modified>
</cp:coreProperties>
</file>